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5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6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7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8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10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11.xml" ContentType="application/vnd.openxmlformats-officedocument.presentationml.notesSl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12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13.xml" ContentType="application/vnd.openxmlformats-officedocument.presentationml.notesSl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14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15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18.xml" ContentType="application/vnd.openxmlformats-officedocument.presentationml.notesSlid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690.xml" ContentType="application/vnd.openxmlformats-officedocument.presentationml.tags+xml"/>
  <Override PartName="/ppt/tags/tag170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6" r:id="rId2"/>
    <p:sldId id="290" r:id="rId3"/>
    <p:sldId id="260" r:id="rId4"/>
    <p:sldId id="261" r:id="rId5"/>
    <p:sldId id="272" r:id="rId6"/>
    <p:sldId id="262" r:id="rId7"/>
    <p:sldId id="263" r:id="rId8"/>
    <p:sldId id="273" r:id="rId9"/>
    <p:sldId id="264" r:id="rId10"/>
    <p:sldId id="275" r:id="rId11"/>
    <p:sldId id="265" r:id="rId12"/>
    <p:sldId id="266" r:id="rId13"/>
    <p:sldId id="276" r:id="rId14"/>
    <p:sldId id="281" r:id="rId15"/>
    <p:sldId id="267" r:id="rId16"/>
    <p:sldId id="284" r:id="rId17"/>
    <p:sldId id="268" r:id="rId18"/>
    <p:sldId id="257" r:id="rId19"/>
    <p:sldId id="259" r:id="rId20"/>
    <p:sldId id="258" r:id="rId21"/>
    <p:sldId id="288" r:id="rId22"/>
    <p:sldId id="289" r:id="rId23"/>
    <p:sldId id="269" r:id="rId24"/>
    <p:sldId id="278" r:id="rId25"/>
    <p:sldId id="283" r:id="rId26"/>
    <p:sldId id="279" r:id="rId27"/>
  </p:sldIdLst>
  <p:sldSz cx="9144000" cy="5143500" type="screen16x9"/>
  <p:notesSz cx="6858000" cy="9144000"/>
  <p:custDataLst>
    <p:tags r:id="rId3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BDC38D43-28B5-4F9B-8B48-9148D1791FAB}">
          <p14:sldIdLst>
            <p14:sldId id="256"/>
            <p14:sldId id="290"/>
            <p14:sldId id="260"/>
          </p14:sldIdLst>
        </p14:section>
        <p14:section name="1 Motivation" id="{5A056EA6-6E58-4803-BA5C-A60158548EA3}">
          <p14:sldIdLst>
            <p14:sldId id="261"/>
            <p14:sldId id="272"/>
          </p14:sldIdLst>
        </p14:section>
        <p14:section name="2 Basics" id="{CCF8AD74-29A2-49EB-A47C-1FCD99072C68}">
          <p14:sldIdLst>
            <p14:sldId id="262"/>
          </p14:sldIdLst>
        </p14:section>
        <p14:section name="2.1 Kubernetes" id="{27D119D6-EAD7-4A5A-8544-2DAB22CEE7E8}">
          <p14:sldIdLst>
            <p14:sldId id="263"/>
            <p14:sldId id="273"/>
          </p14:sldIdLst>
        </p14:section>
        <p14:section name="2.2 Autoscaling" id="{F1A8C673-1EC1-4B8C-AF2B-F686D054FA8B}">
          <p14:sldIdLst>
            <p14:sldId id="264"/>
            <p14:sldId id="275"/>
          </p14:sldIdLst>
        </p14:section>
        <p14:section name="3 State of the Art" id="{E2DB5926-CD54-49AC-B7C9-B337BED5E9B6}">
          <p14:sldIdLst>
            <p14:sldId id="265"/>
          </p14:sldIdLst>
        </p14:section>
        <p14:section name="3.1 Horizontal and Vertical Scaling using Reinforcement Learning" id="{1B34CF1C-4FF7-49FA-951A-E9B5CD6C5512}">
          <p14:sldIdLst>
            <p14:sldId id="266"/>
            <p14:sldId id="276"/>
            <p14:sldId id="281"/>
          </p14:sldIdLst>
        </p14:section>
        <p14:section name="3.2 Performance Analysis of Vertical Scaling" id="{2968B76D-AFB7-473A-8696-F03BDD27010A}">
          <p14:sldIdLst>
            <p14:sldId id="267"/>
            <p14:sldId id="284"/>
          </p14:sldIdLst>
        </p14:section>
        <p14:section name="4 Possible Approaches" id="{C6746C23-7F90-457C-B22B-F4039F1DFEA7}">
          <p14:sldIdLst>
            <p14:sldId id="268"/>
            <p14:sldId id="257"/>
            <p14:sldId id="259"/>
            <p14:sldId id="258"/>
            <p14:sldId id="288"/>
            <p14:sldId id="289"/>
          </p14:sldIdLst>
        </p14:section>
        <p14:section name="5 Application Area" id="{344D8BA4-31B6-4A1B-835C-C95044C75FBD}">
          <p14:sldIdLst>
            <p14:sldId id="269"/>
            <p14:sldId id="278"/>
          </p14:sldIdLst>
        </p14:section>
        <p14:section name="End" id="{196FEDD5-DD17-4A98-B030-6D12B2877229}">
          <p14:sldIdLst>
            <p14:sldId id="283"/>
          </p14:sldIdLst>
        </p14:section>
        <p14:section name="Sources" id="{AE77A553-E7F5-4573-A46B-05E8EF700751}">
          <p14:sldIdLst>
            <p14:sldId id="27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25"/>
    <a:srgbClr val="B5B5B5"/>
    <a:srgbClr val="AFCA0B"/>
    <a:srgbClr val="9C1C26"/>
    <a:srgbClr val="F5A300"/>
    <a:srgbClr val="FDCA00"/>
    <a:srgbClr val="312C8C"/>
    <a:srgbClr val="000000"/>
    <a:srgbClr val="E950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DB9154-8939-487F-9188-7842229DF38E}" v="110" dt="2021-01-06T11:36:47.5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63" autoAdjust="0"/>
    <p:restoredTop sz="95690" autoAdjust="0"/>
  </p:normalViewPr>
  <p:slideViewPr>
    <p:cSldViewPr snapToObjects="1" showGuides="1">
      <p:cViewPr varScale="1">
        <p:scale>
          <a:sx n="151" d="100"/>
          <a:sy n="151" d="100"/>
        </p:scale>
        <p:origin x="2376" y="14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Objects="1" showGuides="1">
      <p:cViewPr varScale="1">
        <p:scale>
          <a:sx n="121" d="100"/>
          <a:sy n="121" d="100"/>
        </p:scale>
        <p:origin x="507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rn, Angelina" userId="17de84f0-3c4d-4bf9-80a7-5182f89cb293" providerId="ADAL" clId="{F6DB9154-8939-487F-9188-7842229DF38E}"/>
    <pc:docChg chg="undo custSel addSld modSld modMainMaster">
      <pc:chgData name="Horn, Angelina" userId="17de84f0-3c4d-4bf9-80a7-5182f89cb293" providerId="ADAL" clId="{F6DB9154-8939-487F-9188-7842229DF38E}" dt="2021-01-06T11:36:47.552" v="71" actId="207"/>
      <pc:docMkLst>
        <pc:docMk/>
      </pc:docMkLst>
      <pc:sldChg chg="modSp">
        <pc:chgData name="Horn, Angelina" userId="17de84f0-3c4d-4bf9-80a7-5182f89cb293" providerId="ADAL" clId="{F6DB9154-8939-487F-9188-7842229DF38E}" dt="2021-01-06T11:01:41.609" v="6"/>
        <pc:sldMkLst>
          <pc:docMk/>
          <pc:sldMk cId="2012295549" sldId="260"/>
        </pc:sldMkLst>
        <pc:spChg chg="mod">
          <ac:chgData name="Horn, Angelina" userId="17de84f0-3c4d-4bf9-80a7-5182f89cb293" providerId="ADAL" clId="{F6DB9154-8939-487F-9188-7842229DF38E}" dt="2021-01-06T11:01:41.609" v="6"/>
          <ac:spMkLst>
            <pc:docMk/>
            <pc:sldMk cId="2012295549" sldId="260"/>
            <ac:spMk id="22" creationId="{6503496D-8103-4926-817D-7D3F2248286C}"/>
          </ac:spMkLst>
        </pc:spChg>
        <pc:spChg chg="mod">
          <ac:chgData name="Horn, Angelina" userId="17de84f0-3c4d-4bf9-80a7-5182f89cb293" providerId="ADAL" clId="{F6DB9154-8939-487F-9188-7842229DF38E}" dt="2021-01-06T11:01:41.608" v="5"/>
          <ac:spMkLst>
            <pc:docMk/>
            <pc:sldMk cId="2012295549" sldId="260"/>
            <ac:spMk id="25" creationId="{9691714D-B569-4129-949B-F15834D46127}"/>
          </ac:spMkLst>
        </pc:spChg>
        <pc:spChg chg="mod">
          <ac:chgData name="Horn, Angelina" userId="17de84f0-3c4d-4bf9-80a7-5182f89cb293" providerId="ADAL" clId="{F6DB9154-8939-487F-9188-7842229DF38E}" dt="2021-01-06T11:01:41.605" v="4"/>
          <ac:spMkLst>
            <pc:docMk/>
            <pc:sldMk cId="2012295549" sldId="260"/>
            <ac:spMk id="28" creationId="{00B8226E-C255-4461-91C0-4752684B2FB8}"/>
          </ac:spMkLst>
        </pc:spChg>
        <pc:spChg chg="mod">
          <ac:chgData name="Horn, Angelina" userId="17de84f0-3c4d-4bf9-80a7-5182f89cb293" providerId="ADAL" clId="{F6DB9154-8939-487F-9188-7842229DF38E}" dt="2021-01-06T11:01:41.602" v="3"/>
          <ac:spMkLst>
            <pc:docMk/>
            <pc:sldMk cId="2012295549" sldId="260"/>
            <ac:spMk id="34" creationId="{21CEDAA5-AE24-487D-B865-D6292A9B0BC8}"/>
          </ac:spMkLst>
        </pc:spChg>
      </pc:sldChg>
      <pc:sldChg chg="modSp">
        <pc:chgData name="Horn, Angelina" userId="17de84f0-3c4d-4bf9-80a7-5182f89cb293" providerId="ADAL" clId="{F6DB9154-8939-487F-9188-7842229DF38E}" dt="2021-01-06T11:01:41.617" v="10"/>
        <pc:sldMkLst>
          <pc:docMk/>
          <pc:sldMk cId="639532016" sldId="261"/>
        </pc:sldMkLst>
        <pc:spChg chg="mod">
          <ac:chgData name="Horn, Angelina" userId="17de84f0-3c4d-4bf9-80a7-5182f89cb293" providerId="ADAL" clId="{F6DB9154-8939-487F-9188-7842229DF38E}" dt="2021-01-06T11:01:41.617" v="10"/>
          <ac:spMkLst>
            <pc:docMk/>
            <pc:sldMk cId="639532016" sldId="261"/>
            <ac:spMk id="23" creationId="{61894956-D21A-4357-8CAE-62C9DA1F0ECD}"/>
          </ac:spMkLst>
        </pc:spChg>
        <pc:spChg chg="mod">
          <ac:chgData name="Horn, Angelina" userId="17de84f0-3c4d-4bf9-80a7-5182f89cb293" providerId="ADAL" clId="{F6DB9154-8939-487F-9188-7842229DF38E}" dt="2021-01-06T11:01:41.615" v="9"/>
          <ac:spMkLst>
            <pc:docMk/>
            <pc:sldMk cId="639532016" sldId="261"/>
            <ac:spMk id="27" creationId="{14DB464F-B96F-4A69-B0B5-2C0E4526FCF6}"/>
          </ac:spMkLst>
        </pc:spChg>
        <pc:spChg chg="mod">
          <ac:chgData name="Horn, Angelina" userId="17de84f0-3c4d-4bf9-80a7-5182f89cb293" providerId="ADAL" clId="{F6DB9154-8939-487F-9188-7842229DF38E}" dt="2021-01-06T11:01:41.614" v="8"/>
          <ac:spMkLst>
            <pc:docMk/>
            <pc:sldMk cId="639532016" sldId="261"/>
            <ac:spMk id="30" creationId="{7F18C049-15B5-48BA-B63D-D22FF6147ED9}"/>
          </ac:spMkLst>
        </pc:spChg>
        <pc:spChg chg="mod">
          <ac:chgData name="Horn, Angelina" userId="17de84f0-3c4d-4bf9-80a7-5182f89cb293" providerId="ADAL" clId="{F6DB9154-8939-487F-9188-7842229DF38E}" dt="2021-01-06T11:01:41.611" v="7"/>
          <ac:spMkLst>
            <pc:docMk/>
            <pc:sldMk cId="639532016" sldId="261"/>
            <ac:spMk id="36" creationId="{57AB5E26-9306-44DA-A4AC-5BE276C1794B}"/>
          </ac:spMkLst>
        </pc:spChg>
      </pc:sldChg>
      <pc:sldChg chg="modSp">
        <pc:chgData name="Horn, Angelina" userId="17de84f0-3c4d-4bf9-80a7-5182f89cb293" providerId="ADAL" clId="{F6DB9154-8939-487F-9188-7842229DF38E}" dt="2021-01-06T11:01:41.631" v="16"/>
        <pc:sldMkLst>
          <pc:docMk/>
          <pc:sldMk cId="3901620180" sldId="262"/>
        </pc:sldMkLst>
        <pc:spChg chg="mod">
          <ac:chgData name="Horn, Angelina" userId="17de84f0-3c4d-4bf9-80a7-5182f89cb293" providerId="ADAL" clId="{F6DB9154-8939-487F-9188-7842229DF38E}" dt="2021-01-06T11:01:41.631" v="16"/>
          <ac:spMkLst>
            <pc:docMk/>
            <pc:sldMk cId="3901620180" sldId="262"/>
            <ac:spMk id="29" creationId="{294216A6-73C7-4C10-8B3C-6BD979479D12}"/>
          </ac:spMkLst>
        </pc:spChg>
        <pc:spChg chg="mod">
          <ac:chgData name="Horn, Angelina" userId="17de84f0-3c4d-4bf9-80a7-5182f89cb293" providerId="ADAL" clId="{F6DB9154-8939-487F-9188-7842229DF38E}" dt="2021-01-06T11:01:41.629" v="15"/>
          <ac:spMkLst>
            <pc:docMk/>
            <pc:sldMk cId="3901620180" sldId="262"/>
            <ac:spMk id="32" creationId="{82B90CEA-72BF-4D9B-8B67-A35534B58DE2}"/>
          </ac:spMkLst>
        </pc:spChg>
        <pc:spChg chg="mod">
          <ac:chgData name="Horn, Angelina" userId="17de84f0-3c4d-4bf9-80a7-5182f89cb293" providerId="ADAL" clId="{F6DB9154-8939-487F-9188-7842229DF38E}" dt="2021-01-06T11:01:41.627" v="14"/>
          <ac:spMkLst>
            <pc:docMk/>
            <pc:sldMk cId="3901620180" sldId="262"/>
            <ac:spMk id="36" creationId="{BAE575E3-7DC8-46D3-A306-DA1E2241CCD7}"/>
          </ac:spMkLst>
        </pc:spChg>
        <pc:spChg chg="mod">
          <ac:chgData name="Horn, Angelina" userId="17de84f0-3c4d-4bf9-80a7-5182f89cb293" providerId="ADAL" clId="{F6DB9154-8939-487F-9188-7842229DF38E}" dt="2021-01-06T11:01:41.625" v="13"/>
          <ac:spMkLst>
            <pc:docMk/>
            <pc:sldMk cId="3901620180" sldId="262"/>
            <ac:spMk id="39" creationId="{8B466C5B-70FB-4D04-A41E-7B6F8701FBBD}"/>
          </ac:spMkLst>
        </pc:spChg>
        <pc:spChg chg="mod">
          <ac:chgData name="Horn, Angelina" userId="17de84f0-3c4d-4bf9-80a7-5182f89cb293" providerId="ADAL" clId="{F6DB9154-8939-487F-9188-7842229DF38E}" dt="2021-01-06T11:01:41.623" v="12"/>
          <ac:spMkLst>
            <pc:docMk/>
            <pc:sldMk cId="3901620180" sldId="262"/>
            <ac:spMk id="42" creationId="{7A0D0632-556C-4A41-A347-B2393A67FBD4}"/>
          </ac:spMkLst>
        </pc:spChg>
        <pc:spChg chg="mod">
          <ac:chgData name="Horn, Angelina" userId="17de84f0-3c4d-4bf9-80a7-5182f89cb293" providerId="ADAL" clId="{F6DB9154-8939-487F-9188-7842229DF38E}" dt="2021-01-06T11:01:41.620" v="11"/>
          <ac:spMkLst>
            <pc:docMk/>
            <pc:sldMk cId="3901620180" sldId="262"/>
            <ac:spMk id="48" creationId="{505C005F-7856-4B02-AD7D-0F8265ED264F}"/>
          </ac:spMkLst>
        </pc:spChg>
      </pc:sldChg>
      <pc:sldChg chg="modSp">
        <pc:chgData name="Horn, Angelina" userId="17de84f0-3c4d-4bf9-80a7-5182f89cb293" providerId="ADAL" clId="{F6DB9154-8939-487F-9188-7842229DF38E}" dt="2021-01-06T11:01:41.644" v="22"/>
        <pc:sldMkLst>
          <pc:docMk/>
          <pc:sldMk cId="2096214225" sldId="263"/>
        </pc:sldMkLst>
        <pc:spChg chg="mod">
          <ac:chgData name="Horn, Angelina" userId="17de84f0-3c4d-4bf9-80a7-5182f89cb293" providerId="ADAL" clId="{F6DB9154-8939-487F-9188-7842229DF38E}" dt="2021-01-06T11:01:41.644" v="22"/>
          <ac:spMkLst>
            <pc:docMk/>
            <pc:sldMk cId="2096214225" sldId="263"/>
            <ac:spMk id="29" creationId="{7CC5831D-63B0-4819-9222-624DC3C0AA06}"/>
          </ac:spMkLst>
        </pc:spChg>
        <pc:spChg chg="mod">
          <ac:chgData name="Horn, Angelina" userId="17de84f0-3c4d-4bf9-80a7-5182f89cb293" providerId="ADAL" clId="{F6DB9154-8939-487F-9188-7842229DF38E}" dt="2021-01-06T11:01:41.642" v="21"/>
          <ac:spMkLst>
            <pc:docMk/>
            <pc:sldMk cId="2096214225" sldId="263"/>
            <ac:spMk id="32" creationId="{001D7892-65FB-4F73-8360-4F6B0E8D945D}"/>
          </ac:spMkLst>
        </pc:spChg>
        <pc:spChg chg="mod">
          <ac:chgData name="Horn, Angelina" userId="17de84f0-3c4d-4bf9-80a7-5182f89cb293" providerId="ADAL" clId="{F6DB9154-8939-487F-9188-7842229DF38E}" dt="2021-01-06T11:01:41.640" v="20"/>
          <ac:spMkLst>
            <pc:docMk/>
            <pc:sldMk cId="2096214225" sldId="263"/>
            <ac:spMk id="35" creationId="{8E49BC3F-14C0-4343-8FEB-0F95A6B5E653}"/>
          </ac:spMkLst>
        </pc:spChg>
        <pc:spChg chg="mod">
          <ac:chgData name="Horn, Angelina" userId="17de84f0-3c4d-4bf9-80a7-5182f89cb293" providerId="ADAL" clId="{F6DB9154-8939-487F-9188-7842229DF38E}" dt="2021-01-06T11:01:41.638" v="19"/>
          <ac:spMkLst>
            <pc:docMk/>
            <pc:sldMk cId="2096214225" sldId="263"/>
            <ac:spMk id="39" creationId="{31EDA896-CAC7-4F08-81A2-9E71D4BEF6F3}"/>
          </ac:spMkLst>
        </pc:spChg>
        <pc:spChg chg="mod">
          <ac:chgData name="Horn, Angelina" userId="17de84f0-3c4d-4bf9-80a7-5182f89cb293" providerId="ADAL" clId="{F6DB9154-8939-487F-9188-7842229DF38E}" dt="2021-01-06T11:01:41.636" v="18"/>
          <ac:spMkLst>
            <pc:docMk/>
            <pc:sldMk cId="2096214225" sldId="263"/>
            <ac:spMk id="42" creationId="{93E6BD2E-857C-4838-AD76-02EDA6F8ADE0}"/>
          </ac:spMkLst>
        </pc:spChg>
        <pc:spChg chg="mod">
          <ac:chgData name="Horn, Angelina" userId="17de84f0-3c4d-4bf9-80a7-5182f89cb293" providerId="ADAL" clId="{F6DB9154-8939-487F-9188-7842229DF38E}" dt="2021-01-06T11:01:41.633" v="17"/>
          <ac:spMkLst>
            <pc:docMk/>
            <pc:sldMk cId="2096214225" sldId="263"/>
            <ac:spMk id="48" creationId="{3C91CD20-64E2-41B7-8212-0BED5D3A99AC}"/>
          </ac:spMkLst>
        </pc:spChg>
      </pc:sldChg>
      <pc:sldChg chg="modSp">
        <pc:chgData name="Horn, Angelina" userId="17de84f0-3c4d-4bf9-80a7-5182f89cb293" providerId="ADAL" clId="{F6DB9154-8939-487F-9188-7842229DF38E}" dt="2021-01-06T11:01:41.656" v="28"/>
        <pc:sldMkLst>
          <pc:docMk/>
          <pc:sldMk cId="1849687074" sldId="264"/>
        </pc:sldMkLst>
        <pc:spChg chg="mod">
          <ac:chgData name="Horn, Angelina" userId="17de84f0-3c4d-4bf9-80a7-5182f89cb293" providerId="ADAL" clId="{F6DB9154-8939-487F-9188-7842229DF38E}" dt="2021-01-06T11:01:41.656" v="28"/>
          <ac:spMkLst>
            <pc:docMk/>
            <pc:sldMk cId="1849687074" sldId="264"/>
            <ac:spMk id="29" creationId="{07934A75-9C6F-4F70-87C8-0CCD1EC92C1D}"/>
          </ac:spMkLst>
        </pc:spChg>
        <pc:spChg chg="mod">
          <ac:chgData name="Horn, Angelina" userId="17de84f0-3c4d-4bf9-80a7-5182f89cb293" providerId="ADAL" clId="{F6DB9154-8939-487F-9188-7842229DF38E}" dt="2021-01-06T11:01:41.655" v="27"/>
          <ac:spMkLst>
            <pc:docMk/>
            <pc:sldMk cId="1849687074" sldId="264"/>
            <ac:spMk id="32" creationId="{EA65B08A-2B4D-4EA0-BEF6-675E06750038}"/>
          </ac:spMkLst>
        </pc:spChg>
        <pc:spChg chg="mod">
          <ac:chgData name="Horn, Angelina" userId="17de84f0-3c4d-4bf9-80a7-5182f89cb293" providerId="ADAL" clId="{F6DB9154-8939-487F-9188-7842229DF38E}" dt="2021-01-06T11:01:41.653" v="26"/>
          <ac:spMkLst>
            <pc:docMk/>
            <pc:sldMk cId="1849687074" sldId="264"/>
            <ac:spMk id="35" creationId="{2807AEE9-4F38-4811-9B21-BB72E886DE37}"/>
          </ac:spMkLst>
        </pc:spChg>
        <pc:spChg chg="mod">
          <ac:chgData name="Horn, Angelina" userId="17de84f0-3c4d-4bf9-80a7-5182f89cb293" providerId="ADAL" clId="{F6DB9154-8939-487F-9188-7842229DF38E}" dt="2021-01-06T11:01:41.651" v="25"/>
          <ac:spMkLst>
            <pc:docMk/>
            <pc:sldMk cId="1849687074" sldId="264"/>
            <ac:spMk id="38" creationId="{F0653E9D-E279-47FE-8F32-9F3ABCC4A3F9}"/>
          </ac:spMkLst>
        </pc:spChg>
        <pc:spChg chg="mod">
          <ac:chgData name="Horn, Angelina" userId="17de84f0-3c4d-4bf9-80a7-5182f89cb293" providerId="ADAL" clId="{F6DB9154-8939-487F-9188-7842229DF38E}" dt="2021-01-06T11:01:41.649" v="24"/>
          <ac:spMkLst>
            <pc:docMk/>
            <pc:sldMk cId="1849687074" sldId="264"/>
            <ac:spMk id="42" creationId="{883D6AE4-9B0F-4A10-AD09-DF9797C1094A}"/>
          </ac:spMkLst>
        </pc:spChg>
        <pc:spChg chg="mod">
          <ac:chgData name="Horn, Angelina" userId="17de84f0-3c4d-4bf9-80a7-5182f89cb293" providerId="ADAL" clId="{F6DB9154-8939-487F-9188-7842229DF38E}" dt="2021-01-06T11:01:41.646" v="23"/>
          <ac:spMkLst>
            <pc:docMk/>
            <pc:sldMk cId="1849687074" sldId="264"/>
            <ac:spMk id="48" creationId="{4AAD15F2-C07B-48C7-BDD5-1C1D76996178}"/>
          </ac:spMkLst>
        </pc:spChg>
      </pc:sldChg>
      <pc:sldChg chg="modSp">
        <pc:chgData name="Horn, Angelina" userId="17de84f0-3c4d-4bf9-80a7-5182f89cb293" providerId="ADAL" clId="{F6DB9154-8939-487F-9188-7842229DF38E}" dt="2021-01-06T11:01:41.668" v="33"/>
        <pc:sldMkLst>
          <pc:docMk/>
          <pc:sldMk cId="2555790827" sldId="265"/>
        </pc:sldMkLst>
        <pc:spChg chg="mod">
          <ac:chgData name="Horn, Angelina" userId="17de84f0-3c4d-4bf9-80a7-5182f89cb293" providerId="ADAL" clId="{F6DB9154-8939-487F-9188-7842229DF38E}" dt="2021-01-06T11:01:41.668" v="33"/>
          <ac:spMkLst>
            <pc:docMk/>
            <pc:sldMk cId="2555790827" sldId="265"/>
            <ac:spMk id="29" creationId="{48A52A35-D109-4CA7-85B4-B823FEF0EEA6}"/>
          </ac:spMkLst>
        </pc:spChg>
        <pc:spChg chg="mod">
          <ac:chgData name="Horn, Angelina" userId="17de84f0-3c4d-4bf9-80a7-5182f89cb293" providerId="ADAL" clId="{F6DB9154-8939-487F-9188-7842229DF38E}" dt="2021-01-06T11:01:41.666" v="32"/>
          <ac:spMkLst>
            <pc:docMk/>
            <pc:sldMk cId="2555790827" sldId="265"/>
            <ac:spMk id="32" creationId="{7F8418F2-1583-4086-B8FF-0A5F65FE1922}"/>
          </ac:spMkLst>
        </pc:spChg>
        <pc:spChg chg="mod">
          <ac:chgData name="Horn, Angelina" userId="17de84f0-3c4d-4bf9-80a7-5182f89cb293" providerId="ADAL" clId="{F6DB9154-8939-487F-9188-7842229DF38E}" dt="2021-01-06T11:01:41.666" v="31"/>
          <ac:spMkLst>
            <pc:docMk/>
            <pc:sldMk cId="2555790827" sldId="265"/>
            <ac:spMk id="35" creationId="{F794A81F-6C0E-438F-86D6-2A14F32AF387}"/>
          </ac:spMkLst>
        </pc:spChg>
        <pc:spChg chg="mod">
          <ac:chgData name="Horn, Angelina" userId="17de84f0-3c4d-4bf9-80a7-5182f89cb293" providerId="ADAL" clId="{F6DB9154-8939-487F-9188-7842229DF38E}" dt="2021-01-06T11:01:41.662" v="30"/>
          <ac:spMkLst>
            <pc:docMk/>
            <pc:sldMk cId="2555790827" sldId="265"/>
            <ac:spMk id="39" creationId="{BF334E58-1126-4967-ACC0-D6CDB5950981}"/>
          </ac:spMkLst>
        </pc:spChg>
        <pc:spChg chg="mod">
          <ac:chgData name="Horn, Angelina" userId="17de84f0-3c4d-4bf9-80a7-5182f89cb293" providerId="ADAL" clId="{F6DB9154-8939-487F-9188-7842229DF38E}" dt="2021-01-06T11:01:41.660" v="29"/>
          <ac:spMkLst>
            <pc:docMk/>
            <pc:sldMk cId="2555790827" sldId="265"/>
            <ac:spMk id="48" creationId="{0F336759-0675-405B-B4FE-649DF0910C3D}"/>
          </ac:spMkLst>
        </pc:spChg>
      </pc:sldChg>
      <pc:sldChg chg="modSp">
        <pc:chgData name="Horn, Angelina" userId="17de84f0-3c4d-4bf9-80a7-5182f89cb293" providerId="ADAL" clId="{F6DB9154-8939-487F-9188-7842229DF38E}" dt="2021-01-06T11:01:41.680" v="38"/>
        <pc:sldMkLst>
          <pc:docMk/>
          <pc:sldMk cId="2086398631" sldId="266"/>
        </pc:sldMkLst>
        <pc:spChg chg="mod">
          <ac:chgData name="Horn, Angelina" userId="17de84f0-3c4d-4bf9-80a7-5182f89cb293" providerId="ADAL" clId="{F6DB9154-8939-487F-9188-7842229DF38E}" dt="2021-01-06T11:01:41.680" v="38"/>
          <ac:spMkLst>
            <pc:docMk/>
            <pc:sldMk cId="2086398631" sldId="266"/>
            <ac:spMk id="29" creationId="{DBC50C95-731B-467F-AB30-099EA80CE877}"/>
          </ac:spMkLst>
        </pc:spChg>
        <pc:spChg chg="mod">
          <ac:chgData name="Horn, Angelina" userId="17de84f0-3c4d-4bf9-80a7-5182f89cb293" providerId="ADAL" clId="{F6DB9154-8939-487F-9188-7842229DF38E}" dt="2021-01-06T11:01:41.678" v="37"/>
          <ac:spMkLst>
            <pc:docMk/>
            <pc:sldMk cId="2086398631" sldId="266"/>
            <ac:spMk id="32" creationId="{8EB89ECD-452E-45DB-9E93-8491EBE8D8CB}"/>
          </ac:spMkLst>
        </pc:spChg>
        <pc:spChg chg="mod">
          <ac:chgData name="Horn, Angelina" userId="17de84f0-3c4d-4bf9-80a7-5182f89cb293" providerId="ADAL" clId="{F6DB9154-8939-487F-9188-7842229DF38E}" dt="2021-01-06T11:01:41.676" v="36"/>
          <ac:spMkLst>
            <pc:docMk/>
            <pc:sldMk cId="2086398631" sldId="266"/>
            <ac:spMk id="35" creationId="{71BBF4D0-7054-4F00-ABC6-BAC79C85F569}"/>
          </ac:spMkLst>
        </pc:spChg>
        <pc:spChg chg="mod">
          <ac:chgData name="Horn, Angelina" userId="17de84f0-3c4d-4bf9-80a7-5182f89cb293" providerId="ADAL" clId="{F6DB9154-8939-487F-9188-7842229DF38E}" dt="2021-01-06T11:01:41.674" v="35"/>
          <ac:spMkLst>
            <pc:docMk/>
            <pc:sldMk cId="2086398631" sldId="266"/>
            <ac:spMk id="38" creationId="{CC1F1BF7-A8FB-401E-BA16-36700D1EBCAB}"/>
          </ac:spMkLst>
        </pc:spChg>
        <pc:spChg chg="mod">
          <ac:chgData name="Horn, Angelina" userId="17de84f0-3c4d-4bf9-80a7-5182f89cb293" providerId="ADAL" clId="{F6DB9154-8939-487F-9188-7842229DF38E}" dt="2021-01-06T11:01:41.670" v="34"/>
          <ac:spMkLst>
            <pc:docMk/>
            <pc:sldMk cId="2086398631" sldId="266"/>
            <ac:spMk id="48" creationId="{292616A6-657F-485C-B0B4-532FA115C665}"/>
          </ac:spMkLst>
        </pc:spChg>
      </pc:sldChg>
      <pc:sldChg chg="modSp">
        <pc:chgData name="Horn, Angelina" userId="17de84f0-3c4d-4bf9-80a7-5182f89cb293" providerId="ADAL" clId="{F6DB9154-8939-487F-9188-7842229DF38E}" dt="2021-01-06T11:01:41.691" v="43"/>
        <pc:sldMkLst>
          <pc:docMk/>
          <pc:sldMk cId="3545465657" sldId="267"/>
        </pc:sldMkLst>
        <pc:spChg chg="mod">
          <ac:chgData name="Horn, Angelina" userId="17de84f0-3c4d-4bf9-80a7-5182f89cb293" providerId="ADAL" clId="{F6DB9154-8939-487F-9188-7842229DF38E}" dt="2021-01-06T11:01:41.691" v="43"/>
          <ac:spMkLst>
            <pc:docMk/>
            <pc:sldMk cId="3545465657" sldId="267"/>
            <ac:spMk id="29" creationId="{159D8E88-FDBE-4CEF-AC94-ED8C9226584B}"/>
          </ac:spMkLst>
        </pc:spChg>
        <pc:spChg chg="mod">
          <ac:chgData name="Horn, Angelina" userId="17de84f0-3c4d-4bf9-80a7-5182f89cb293" providerId="ADAL" clId="{F6DB9154-8939-487F-9188-7842229DF38E}" dt="2021-01-06T11:01:41.689" v="42"/>
          <ac:spMkLst>
            <pc:docMk/>
            <pc:sldMk cId="3545465657" sldId="267"/>
            <ac:spMk id="32" creationId="{A71CA991-0572-4163-8ADD-CE89DB863584}"/>
          </ac:spMkLst>
        </pc:spChg>
        <pc:spChg chg="mod">
          <ac:chgData name="Horn, Angelina" userId="17de84f0-3c4d-4bf9-80a7-5182f89cb293" providerId="ADAL" clId="{F6DB9154-8939-487F-9188-7842229DF38E}" dt="2021-01-06T11:01:41.689" v="41"/>
          <ac:spMkLst>
            <pc:docMk/>
            <pc:sldMk cId="3545465657" sldId="267"/>
            <ac:spMk id="35" creationId="{E2863C55-C118-40F4-87E6-D61A23BD455E}"/>
          </ac:spMkLst>
        </pc:spChg>
        <pc:spChg chg="mod">
          <ac:chgData name="Horn, Angelina" userId="17de84f0-3c4d-4bf9-80a7-5182f89cb293" providerId="ADAL" clId="{F6DB9154-8939-487F-9188-7842229DF38E}" dt="2021-01-06T11:01:41.687" v="40"/>
          <ac:spMkLst>
            <pc:docMk/>
            <pc:sldMk cId="3545465657" sldId="267"/>
            <ac:spMk id="38" creationId="{4858030F-DB48-4231-9D59-5BC4F261B44A}"/>
          </ac:spMkLst>
        </pc:spChg>
        <pc:spChg chg="mod">
          <ac:chgData name="Horn, Angelina" userId="17de84f0-3c4d-4bf9-80a7-5182f89cb293" providerId="ADAL" clId="{F6DB9154-8939-487F-9188-7842229DF38E}" dt="2021-01-06T11:01:41.682" v="39"/>
          <ac:spMkLst>
            <pc:docMk/>
            <pc:sldMk cId="3545465657" sldId="267"/>
            <ac:spMk id="48" creationId="{F5B892C0-BE8A-456A-9A35-5D6C52F02741}"/>
          </ac:spMkLst>
        </pc:spChg>
      </pc:sldChg>
      <pc:sldChg chg="modSp">
        <pc:chgData name="Horn, Angelina" userId="17de84f0-3c4d-4bf9-80a7-5182f89cb293" providerId="ADAL" clId="{F6DB9154-8939-487F-9188-7842229DF38E}" dt="2021-01-06T11:01:41.700" v="47"/>
        <pc:sldMkLst>
          <pc:docMk/>
          <pc:sldMk cId="1815568486" sldId="268"/>
        </pc:sldMkLst>
        <pc:spChg chg="mod">
          <ac:chgData name="Horn, Angelina" userId="17de84f0-3c4d-4bf9-80a7-5182f89cb293" providerId="ADAL" clId="{F6DB9154-8939-487F-9188-7842229DF38E}" dt="2021-01-06T11:01:41.700" v="47"/>
          <ac:spMkLst>
            <pc:docMk/>
            <pc:sldMk cId="1815568486" sldId="268"/>
            <ac:spMk id="23" creationId="{D51B4C34-AD4C-4BAE-948D-3D647DC3C46D}"/>
          </ac:spMkLst>
        </pc:spChg>
        <pc:spChg chg="mod">
          <ac:chgData name="Horn, Angelina" userId="17de84f0-3c4d-4bf9-80a7-5182f89cb293" providerId="ADAL" clId="{F6DB9154-8939-487F-9188-7842229DF38E}" dt="2021-01-06T11:01:41.698" v="46"/>
          <ac:spMkLst>
            <pc:docMk/>
            <pc:sldMk cId="1815568486" sldId="268"/>
            <ac:spMk id="26" creationId="{BA387CB2-D55C-48D9-A738-9FB2C5C66A1E}"/>
          </ac:spMkLst>
        </pc:spChg>
        <pc:spChg chg="mod">
          <ac:chgData name="Horn, Angelina" userId="17de84f0-3c4d-4bf9-80a7-5182f89cb293" providerId="ADAL" clId="{F6DB9154-8939-487F-9188-7842229DF38E}" dt="2021-01-06T11:01:41.696" v="45"/>
          <ac:spMkLst>
            <pc:docMk/>
            <pc:sldMk cId="1815568486" sldId="268"/>
            <ac:spMk id="29" creationId="{CC8CE2A7-4BCA-4BAB-AFBB-F866FA0F58B4}"/>
          </ac:spMkLst>
        </pc:spChg>
        <pc:spChg chg="mod">
          <ac:chgData name="Horn, Angelina" userId="17de84f0-3c4d-4bf9-80a7-5182f89cb293" providerId="ADAL" clId="{F6DB9154-8939-487F-9188-7842229DF38E}" dt="2021-01-06T11:01:41.694" v="44"/>
          <ac:spMkLst>
            <pc:docMk/>
            <pc:sldMk cId="1815568486" sldId="268"/>
            <ac:spMk id="36" creationId="{EF9BB082-68A3-493A-A803-4C56BCBE838E}"/>
          </ac:spMkLst>
        </pc:spChg>
      </pc:sldChg>
      <pc:sldChg chg="modSp">
        <pc:chgData name="Horn, Angelina" userId="17de84f0-3c4d-4bf9-80a7-5182f89cb293" providerId="ADAL" clId="{F6DB9154-8939-487F-9188-7842229DF38E}" dt="2021-01-06T11:01:41.709" v="51"/>
        <pc:sldMkLst>
          <pc:docMk/>
          <pc:sldMk cId="541978141" sldId="269"/>
        </pc:sldMkLst>
        <pc:spChg chg="mod">
          <ac:chgData name="Horn, Angelina" userId="17de84f0-3c4d-4bf9-80a7-5182f89cb293" providerId="ADAL" clId="{F6DB9154-8939-487F-9188-7842229DF38E}" dt="2021-01-06T11:01:41.709" v="51"/>
          <ac:spMkLst>
            <pc:docMk/>
            <pc:sldMk cId="541978141" sldId="269"/>
            <ac:spMk id="29" creationId="{32B278CD-49DC-4CC6-AE50-5193586968F2}"/>
          </ac:spMkLst>
        </pc:spChg>
        <pc:spChg chg="mod">
          <ac:chgData name="Horn, Angelina" userId="17de84f0-3c4d-4bf9-80a7-5182f89cb293" providerId="ADAL" clId="{F6DB9154-8939-487F-9188-7842229DF38E}" dt="2021-01-06T11:01:41.707" v="50"/>
          <ac:spMkLst>
            <pc:docMk/>
            <pc:sldMk cId="541978141" sldId="269"/>
            <ac:spMk id="32" creationId="{7367736E-DDE8-40CC-93EB-29E5F83C30AD}"/>
          </ac:spMkLst>
        </pc:spChg>
        <pc:spChg chg="mod">
          <ac:chgData name="Horn, Angelina" userId="17de84f0-3c4d-4bf9-80a7-5182f89cb293" providerId="ADAL" clId="{F6DB9154-8939-487F-9188-7842229DF38E}" dt="2021-01-06T11:01:41.705" v="49"/>
          <ac:spMkLst>
            <pc:docMk/>
            <pc:sldMk cId="541978141" sldId="269"/>
            <ac:spMk id="35" creationId="{8E0BF2D7-6C5E-4E6A-9431-8F0EF8ADEF86}"/>
          </ac:spMkLst>
        </pc:spChg>
        <pc:spChg chg="mod">
          <ac:chgData name="Horn, Angelina" userId="17de84f0-3c4d-4bf9-80a7-5182f89cb293" providerId="ADAL" clId="{F6DB9154-8939-487F-9188-7842229DF38E}" dt="2021-01-06T11:01:41.703" v="48"/>
          <ac:spMkLst>
            <pc:docMk/>
            <pc:sldMk cId="541978141" sldId="269"/>
            <ac:spMk id="41" creationId="{A249CAC5-6281-4D33-9384-87F99882576A}"/>
          </ac:spMkLst>
        </pc:spChg>
      </pc:sldChg>
      <pc:sldChg chg="addSp delSp modSp add">
        <pc:chgData name="Horn, Angelina" userId="17de84f0-3c4d-4bf9-80a7-5182f89cb293" providerId="ADAL" clId="{F6DB9154-8939-487F-9188-7842229DF38E}" dt="2021-01-06T11:34:52.747" v="67" actId="931"/>
        <pc:sldMkLst>
          <pc:docMk/>
          <pc:sldMk cId="3563955210" sldId="290"/>
        </pc:sldMkLst>
        <pc:spChg chg="mod">
          <ac:chgData name="Horn, Angelina" userId="17de84f0-3c4d-4bf9-80a7-5182f89cb293" providerId="ADAL" clId="{F6DB9154-8939-487F-9188-7842229DF38E}" dt="2021-01-06T11:34:45.362" v="66" actId="20577"/>
          <ac:spMkLst>
            <pc:docMk/>
            <pc:sldMk cId="3563955210" sldId="290"/>
            <ac:spMk id="2" creationId="{2230E7E2-B70A-43DD-AE08-0FFDB9B1B3E6}"/>
          </ac:spMkLst>
        </pc:spChg>
        <pc:spChg chg="add del">
          <ac:chgData name="Horn, Angelina" userId="17de84f0-3c4d-4bf9-80a7-5182f89cb293" providerId="ADAL" clId="{F6DB9154-8939-487F-9188-7842229DF38E}" dt="2021-01-06T11:34:52.747" v="67" actId="931"/>
          <ac:spMkLst>
            <pc:docMk/>
            <pc:sldMk cId="3563955210" sldId="290"/>
            <ac:spMk id="3" creationId="{4C666631-2E4B-4726-8210-2B66413D879E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2" creationId="{8CDAF5AD-6B49-41BF-9891-E612F4B0FC9F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3" creationId="{1B3B2B0F-3657-4425-95C2-ECFC0B761454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4" creationId="{AA0D956A-C42D-43EF-97AB-FAB117F661CE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5" creationId="{4E45D621-2726-4F14-8172-AB321DBBED98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6" creationId="{402EC68A-9010-4974-9D3C-098DB7666D7C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7" creationId="{72B6BC39-4D0D-4855-A032-8533C514CBB0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8" creationId="{3D96300A-83D6-4BA0-93FF-43A098C0D966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9" creationId="{4C8B5DEE-C562-4B62-AA55-5DE867D5AC46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20" creationId="{D86CFCEF-CA0E-4632-AE4B-82BBF3FC91D0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21" creationId="{EC067949-BA39-45C3-AE0E-1463B2378526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22" creationId="{3A16A6DE-8E1E-4917-A28F-BBF0836CC2BE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23" creationId="{C29ADA5C-95B3-48D2-B255-26BDA8CCBA0C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25" creationId="{A4ACA124-5D6B-4C1F-99F1-98C283867BED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35" creationId="{331FA44D-88D1-478D-A7FD-11EC2E151F6C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36" creationId="{4E6E2298-DA64-4BCE-82F5-5B0E1B7E7D74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37" creationId="{429C4C7F-F07B-4000-976C-51C446B4165E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38" creationId="{7071F00E-5935-46D5-A05E-F37F64B27ACE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39" creationId="{6DE02280-4840-4D10-B3A0-A65159F6750E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4" creationId="{D60203DC-489C-4EBD-8715-30ACBC992B4C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5" creationId="{7AEDD957-EFAA-45A3-8966-1B9620EA87B5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6" creationId="{E739F24A-B03D-4A8C-A793-03AC5A8B6CD8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7" creationId="{E945701A-8EB9-4772-998B-EE086233C31A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8" creationId="{810C9010-7692-4A40-B295-F99F9C7F7FA9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9" creationId="{2D602C5D-792B-4403-B831-92968CBBB0DD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0" creationId="{D889CB44-15A5-4EEF-81B4-488BCC9B1FFF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1" creationId="{1E7CABED-2511-409E-8D26-1375C510ADE9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2" creationId="{93920322-60A8-4DB4-9B60-882A604D9647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3" creationId="{070EDE52-4414-48A2-A8CA-75B29D6B0F84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4" creationId="{AD9FC562-FD27-41DB-BFE8-C373C087D934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5" creationId="{D00AE685-592E-4CBD-9168-980E9B3F63AE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7" creationId="{FF92ECB0-684C-4D0C-BD5F-0D29FA16FBAC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77" creationId="{C1F8362E-95DA-4001-BAFB-6B4449FA81FA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78" creationId="{800C2966-E1C2-47E9-8E76-573D142B0D3F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79" creationId="{9858F702-7622-4A75-AFA5-6CEA10197F18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80" creationId="{B6249016-0C7A-4B67-B144-2820B53A9516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81" creationId="{511D4646-6E43-41DE-83B6-C4CFFF1F2828}"/>
          </ac:spMkLst>
        </pc:sp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4" creationId="{53622CFE-43AE-4619-8EF3-A8C4DAA406E4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5" creationId="{946F19BA-BE27-4960-A6B9-FFCF3BF7B9E8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6" creationId="{EB9A1E58-D082-4550-AA6F-6BEE5D28A945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7" creationId="{9C2B3405-C61E-4ABA-AC61-3046645F286C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8" creationId="{34A78291-A3FA-4288-A283-028BD457DDF1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9" creationId="{0295E398-12E5-4ABD-8511-CB5036AB9CD6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10" creationId="{97BF79F1-650D-4013-9B1F-D32972FAF231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24" creationId="{1E56F1C5-80D3-44BD-9A23-EACAEDBBA31E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46" creationId="{A268F4DE-6FF4-45BA-879F-7D773AD94B1F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47" creationId="{1FADBC2A-D770-4F31-8298-226CA73C9F0A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48" creationId="{F3BD5DED-7B48-4FD3-A6A7-9FF7DBAFB282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49" creationId="{FC244323-10AF-4FFA-9E92-71364AC626A1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50" creationId="{44D8BB4C-6BCF-44AB-967A-6F8D563D08BC}"/>
          </ac:picMkLst>
        </pc:picChg>
        <pc:picChg chg="add del mod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51" creationId="{298C4CBE-D92B-4BB2-AB64-0E31ADEE8A8E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52" creationId="{5F29A724-04F1-496E-871F-EDF9CF5BAAF7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66" creationId="{E04AB07E-D466-43B9-ABF8-997ED345F71D}"/>
          </ac:picMkLst>
        </pc:picChg>
        <pc:picChg chg="add mod">
          <ac:chgData name="Horn, Angelina" userId="17de84f0-3c4d-4bf9-80a7-5182f89cb293" providerId="ADAL" clId="{F6DB9154-8939-487F-9188-7842229DF38E}" dt="2021-01-06T11:34:52.747" v="67" actId="931"/>
          <ac:picMkLst>
            <pc:docMk/>
            <pc:sldMk cId="3563955210" sldId="290"/>
            <ac:picMk id="84" creationId="{B7242FE4-674C-4E19-9B32-A27992FD5A05}"/>
          </ac:picMkLst>
        </pc:pic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11" creationId="{531D2318-5329-4C74-850C-FFD773EC126B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26" creationId="{554189F8-2EE5-47D7-82D2-BA8B837CBC90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27" creationId="{E1A3767F-A651-4530-8079-4309E708B79B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28" creationId="{6D9BAAC9-C219-49CE-923B-6CF65F7F71A9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29" creationId="{99D068C5-4CD3-4DDB-9975-FBB388AAF031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30" creationId="{A3E587B8-21EA-486F-A4A2-53FF75CE03A3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31" creationId="{E79E17A6-138F-4AF0-8537-D0413ADB8221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32" creationId="{21C1FFA8-BA4C-4116-8DB0-3C7B7FF9C3B1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33" creationId="{5EF4FA9C-E26A-4BFB-974E-361D75A0C578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34" creationId="{EBE4ED6B-BFE0-4AA3-BF41-CA84337E9A52}"/>
          </ac:cxnSpMkLst>
        </pc:cxnChg>
        <pc:cxnChg chg="add del mod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53" creationId="{BD240110-FAB9-448B-8898-8C71EA172A10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68" creationId="{DBAD03C5-93B4-4ACE-A854-6A3238D8810C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69" creationId="{F2D478C6-7DA8-4B7A-953A-3E1D9B4F3AF0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0" creationId="{C7F77C83-BDFF-43E0-BB32-CDFBB91DD7C4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1" creationId="{3A9A72CC-BC10-4BC8-B77A-9D07BBF2BEB7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2" creationId="{7345FE0A-06E4-41F7-9DAF-E82F6F9D8CEC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3" creationId="{649FB77B-FF28-4EE0-91FC-58284356342F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4" creationId="{9A2FD641-5583-44C5-BDE3-1A5D7334A346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5" creationId="{61B001CC-7750-4BC0-9AAA-791102E2036A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6" creationId="{6DFFD29B-7CD6-4631-BEC9-98608EA7707F}"/>
          </ac:cxnSpMkLst>
        </pc:cxnChg>
      </pc:sldChg>
      <pc:sldMasterChg chg="modSp modSldLayout">
        <pc:chgData name="Horn, Angelina" userId="17de84f0-3c4d-4bf9-80a7-5182f89cb293" providerId="ADAL" clId="{F6DB9154-8939-487F-9188-7842229DF38E}" dt="2021-01-06T11:36:47.552" v="71" actId="207"/>
        <pc:sldMasterMkLst>
          <pc:docMk/>
          <pc:sldMasterMk cId="0" sldId="2147483648"/>
        </pc:sldMasterMkLst>
        <pc:spChg chg="mod">
          <ac:chgData name="Horn, Angelina" userId="17de84f0-3c4d-4bf9-80a7-5182f89cb293" providerId="ADAL" clId="{F6DB9154-8939-487F-9188-7842229DF38E}" dt="2021-01-06T11:36:32.958" v="69" actId="207"/>
          <ac:spMkLst>
            <pc:docMk/>
            <pc:sldMasterMk cId="0" sldId="2147483648"/>
            <ac:spMk id="1029" creationId="{C39D8E94-3E00-4FF9-8B43-C582B880E7F6}"/>
          </ac:spMkLst>
        </pc:spChg>
        <pc:sldLayoutChg chg="modSp">
          <pc:chgData name="Horn, Angelina" userId="17de84f0-3c4d-4bf9-80a7-5182f89cb293" providerId="ADAL" clId="{F6DB9154-8939-487F-9188-7842229DF38E}" dt="2021-01-06T11:36:47.552" v="71" actId="207"/>
          <pc:sldLayoutMkLst>
            <pc:docMk/>
            <pc:sldMasterMk cId="0" sldId="2147483648"/>
            <pc:sldLayoutMk cId="3584487548" sldId="2147483678"/>
          </pc:sldLayoutMkLst>
          <pc:spChg chg="mod">
            <ac:chgData name="Horn, Angelina" userId="17de84f0-3c4d-4bf9-80a7-5182f89cb293" providerId="ADAL" clId="{F6DB9154-8939-487F-9188-7842229DF38E}" dt="2021-01-06T11:36:44.287" v="70" actId="207"/>
            <ac:spMkLst>
              <pc:docMk/>
              <pc:sldMasterMk cId="0" sldId="2147483648"/>
              <pc:sldLayoutMk cId="3584487548" sldId="2147483678"/>
              <ac:spMk id="4" creationId="{8AC98F4B-0F8B-4A71-988D-C71390328229}"/>
            </ac:spMkLst>
          </pc:spChg>
          <pc:spChg chg="mod">
            <ac:chgData name="Horn, Angelina" userId="17de84f0-3c4d-4bf9-80a7-5182f89cb293" providerId="ADAL" clId="{F6DB9154-8939-487F-9188-7842229DF38E}" dt="2021-01-06T11:36:47.552" v="71" actId="207"/>
            <ac:spMkLst>
              <pc:docMk/>
              <pc:sldMasterMk cId="0" sldId="2147483648"/>
              <pc:sldLayoutMk cId="3584487548" sldId="2147483678"/>
              <ac:spMk id="6" creationId="{73C98749-4023-42AD-AE3A-55643258CEF9}"/>
            </ac:spMkLst>
          </pc:spChg>
        </pc:sldLayout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B88A76-B933-A64F-84C4-143F47CFF6AF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EC88222-9E0B-6F49-A7CC-7A3F920F961E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/>
            <a:t>GUI</a:t>
          </a:r>
          <a:endParaRPr lang="en-US" dirty="0"/>
        </a:p>
      </dgm:t>
    </dgm:pt>
    <dgm:pt modelId="{6FAB5E0E-9CCB-D44D-901C-AD98EBD4BD74}" type="parTrans" cxnId="{12D7C186-0CF2-9E4E-B00C-7B990CCCF9E4}">
      <dgm:prSet/>
      <dgm:spPr/>
      <dgm:t>
        <a:bodyPr/>
        <a:lstStyle/>
        <a:p>
          <a:endParaRPr lang="en-US"/>
        </a:p>
      </dgm:t>
    </dgm:pt>
    <dgm:pt modelId="{CC58D917-E8D4-0246-88C4-10D2133E1938}" type="sibTrans" cxnId="{12D7C186-0CF2-9E4E-B00C-7B990CCCF9E4}">
      <dgm:prSet/>
      <dgm:spPr/>
      <dgm:t>
        <a:bodyPr/>
        <a:lstStyle/>
        <a:p>
          <a:endParaRPr lang="en-US"/>
        </a:p>
      </dgm:t>
    </dgm:pt>
    <dgm:pt modelId="{B3F89B9F-C542-6E48-B53A-10B3071BAA9D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/>
            <a:t>Machine Learning	</a:t>
          </a:r>
          <a:endParaRPr lang="en-US" dirty="0"/>
        </a:p>
      </dgm:t>
    </dgm:pt>
    <dgm:pt modelId="{EDD7AFD5-BD9F-8646-A1B0-6BC56C00E5B7}" type="parTrans" cxnId="{8801054C-68DA-C944-8154-09E3153709F2}">
      <dgm:prSet/>
      <dgm:spPr/>
      <dgm:t>
        <a:bodyPr/>
        <a:lstStyle/>
        <a:p>
          <a:endParaRPr lang="en-US"/>
        </a:p>
      </dgm:t>
    </dgm:pt>
    <dgm:pt modelId="{DADFD056-28F8-BA41-991D-E729E2215504}" type="sibTrans" cxnId="{8801054C-68DA-C944-8154-09E3153709F2}">
      <dgm:prSet/>
      <dgm:spPr/>
      <dgm:t>
        <a:bodyPr/>
        <a:lstStyle/>
        <a:p>
          <a:endParaRPr lang="en-US"/>
        </a:p>
      </dgm:t>
    </dgm:pt>
    <dgm:pt modelId="{464918D8-346C-FD47-9DB4-B174CE87CDE6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ontrol Script</a:t>
          </a:r>
        </a:p>
      </dgm:t>
    </dgm:pt>
    <dgm:pt modelId="{058C9E90-EEE6-6A4C-90F1-0E064E55F851}" type="parTrans" cxnId="{34D5B867-E4B7-C449-A467-A456444FBAFF}">
      <dgm:prSet/>
      <dgm:spPr/>
      <dgm:t>
        <a:bodyPr/>
        <a:lstStyle/>
        <a:p>
          <a:endParaRPr lang="en-US"/>
        </a:p>
      </dgm:t>
    </dgm:pt>
    <dgm:pt modelId="{ED4C4428-1F9D-1A42-ABB8-9165D2A6C816}" type="sibTrans" cxnId="{34D5B867-E4B7-C449-A467-A456444FBAFF}">
      <dgm:prSet/>
      <dgm:spPr/>
      <dgm:t>
        <a:bodyPr/>
        <a:lstStyle/>
        <a:p>
          <a:endParaRPr lang="en-US"/>
        </a:p>
      </dgm:t>
    </dgm:pt>
    <dgm:pt modelId="{1E0E44A8-7E6F-704F-9D4A-6691F3BAA95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Kubernetes Cluster</a:t>
          </a:r>
        </a:p>
      </dgm:t>
    </dgm:pt>
    <dgm:pt modelId="{7F4B538E-2FE6-0B42-AB47-B2B99165A710}" type="parTrans" cxnId="{D534BCC2-9C0A-494F-97E3-3883452D480C}">
      <dgm:prSet/>
      <dgm:spPr/>
      <dgm:t>
        <a:bodyPr/>
        <a:lstStyle/>
        <a:p>
          <a:endParaRPr lang="en-US"/>
        </a:p>
      </dgm:t>
    </dgm:pt>
    <dgm:pt modelId="{9663ED88-7DDA-684F-911E-EC6027FEC3EC}" type="sibTrans" cxnId="{D534BCC2-9C0A-494F-97E3-3883452D480C}">
      <dgm:prSet/>
      <dgm:spPr/>
      <dgm:t>
        <a:bodyPr/>
        <a:lstStyle/>
        <a:p>
          <a:endParaRPr lang="en-US"/>
        </a:p>
      </dgm:t>
    </dgm:pt>
    <dgm:pt modelId="{FD2D1B7B-8ECD-496F-9931-A2F0D39E650E}" type="pres">
      <dgm:prSet presAssocID="{9DB88A76-B933-A64F-84C4-143F47CFF6AF}" presName="root" presStyleCnt="0">
        <dgm:presLayoutVars>
          <dgm:dir/>
          <dgm:resizeHandles val="exact"/>
        </dgm:presLayoutVars>
      </dgm:prSet>
      <dgm:spPr/>
    </dgm:pt>
    <dgm:pt modelId="{741EB1F5-E3A9-4000-B5A2-7079FA72DBD5}" type="pres">
      <dgm:prSet presAssocID="{EEC88222-9E0B-6F49-A7CC-7A3F920F961E}" presName="compNode" presStyleCnt="0"/>
      <dgm:spPr/>
    </dgm:pt>
    <dgm:pt modelId="{39CCAF4E-F465-4244-8794-816179560F1F}" type="pres">
      <dgm:prSet presAssocID="{EEC88222-9E0B-6F49-A7CC-7A3F920F961E}" presName="bgRect" presStyleLbl="bgShp" presStyleIdx="0" presStyleCnt="4"/>
      <dgm:spPr/>
    </dgm:pt>
    <dgm:pt modelId="{902A56BF-AF2D-4056-A4E0-2F4934D0828E}" type="pres">
      <dgm:prSet presAssocID="{EEC88222-9E0B-6F49-A7CC-7A3F920F961E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mputer"/>
        </a:ext>
      </dgm:extLst>
    </dgm:pt>
    <dgm:pt modelId="{EC568AD3-98D9-4E91-A73A-405A3BF4207D}" type="pres">
      <dgm:prSet presAssocID="{EEC88222-9E0B-6F49-A7CC-7A3F920F961E}" presName="spaceRect" presStyleCnt="0"/>
      <dgm:spPr/>
    </dgm:pt>
    <dgm:pt modelId="{F5A59E59-25CA-4AB8-AF9F-065091EDF2AD}" type="pres">
      <dgm:prSet presAssocID="{EEC88222-9E0B-6F49-A7CC-7A3F920F961E}" presName="parTx" presStyleLbl="revTx" presStyleIdx="0" presStyleCnt="4">
        <dgm:presLayoutVars>
          <dgm:chMax val="0"/>
          <dgm:chPref val="0"/>
        </dgm:presLayoutVars>
      </dgm:prSet>
      <dgm:spPr/>
    </dgm:pt>
    <dgm:pt modelId="{5AF0B7BB-6FE9-46A8-AAFC-EDC6F382552C}" type="pres">
      <dgm:prSet presAssocID="{CC58D917-E8D4-0246-88C4-10D2133E1938}" presName="sibTrans" presStyleCnt="0"/>
      <dgm:spPr/>
    </dgm:pt>
    <dgm:pt modelId="{D5CE196C-07C0-4F0F-8F74-9C409CA5BF3C}" type="pres">
      <dgm:prSet presAssocID="{B3F89B9F-C542-6E48-B53A-10B3071BAA9D}" presName="compNode" presStyleCnt="0"/>
      <dgm:spPr/>
    </dgm:pt>
    <dgm:pt modelId="{8AD95ADB-D513-4BFB-A38A-6280FA9CA1C8}" type="pres">
      <dgm:prSet presAssocID="{B3F89B9F-C542-6E48-B53A-10B3071BAA9D}" presName="bgRect" presStyleLbl="bgShp" presStyleIdx="1" presStyleCnt="4"/>
      <dgm:spPr/>
    </dgm:pt>
    <dgm:pt modelId="{E02C7757-C3F8-44C6-A753-F3EF9A22B54E}" type="pres">
      <dgm:prSet presAssocID="{B3F89B9F-C542-6E48-B53A-10B3071BAA9D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59940647-F4ED-444E-8C22-884F291DBC5D}" type="pres">
      <dgm:prSet presAssocID="{B3F89B9F-C542-6E48-B53A-10B3071BAA9D}" presName="spaceRect" presStyleCnt="0"/>
      <dgm:spPr/>
    </dgm:pt>
    <dgm:pt modelId="{2AFA2F02-A4C5-4676-83BC-A73D4E856C34}" type="pres">
      <dgm:prSet presAssocID="{B3F89B9F-C542-6E48-B53A-10B3071BAA9D}" presName="parTx" presStyleLbl="revTx" presStyleIdx="1" presStyleCnt="4">
        <dgm:presLayoutVars>
          <dgm:chMax val="0"/>
          <dgm:chPref val="0"/>
        </dgm:presLayoutVars>
      </dgm:prSet>
      <dgm:spPr/>
    </dgm:pt>
    <dgm:pt modelId="{6F608D17-A00D-44C6-B494-438EF867116A}" type="pres">
      <dgm:prSet presAssocID="{DADFD056-28F8-BA41-991D-E729E2215504}" presName="sibTrans" presStyleCnt="0"/>
      <dgm:spPr/>
    </dgm:pt>
    <dgm:pt modelId="{510134FC-579F-4767-93CF-CCAB13BAE5A2}" type="pres">
      <dgm:prSet presAssocID="{464918D8-346C-FD47-9DB4-B174CE87CDE6}" presName="compNode" presStyleCnt="0"/>
      <dgm:spPr/>
    </dgm:pt>
    <dgm:pt modelId="{75BFE927-EAF8-495A-B906-2A823C492E0A}" type="pres">
      <dgm:prSet presAssocID="{464918D8-346C-FD47-9DB4-B174CE87CDE6}" presName="bgRect" presStyleLbl="bgShp" presStyleIdx="2" presStyleCnt="4"/>
      <dgm:spPr/>
    </dgm:pt>
    <dgm:pt modelId="{047FB047-4E01-45BE-9013-BD1BB84A01A1}" type="pres">
      <dgm:prSet presAssocID="{464918D8-346C-FD47-9DB4-B174CE87CDE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11A52B9C-0FAA-4414-BCE4-833E3F252D71}" type="pres">
      <dgm:prSet presAssocID="{464918D8-346C-FD47-9DB4-B174CE87CDE6}" presName="spaceRect" presStyleCnt="0"/>
      <dgm:spPr/>
    </dgm:pt>
    <dgm:pt modelId="{E6C92912-AD35-48A9-87DC-E62942F21BA3}" type="pres">
      <dgm:prSet presAssocID="{464918D8-346C-FD47-9DB4-B174CE87CDE6}" presName="parTx" presStyleLbl="revTx" presStyleIdx="2" presStyleCnt="4">
        <dgm:presLayoutVars>
          <dgm:chMax val="0"/>
          <dgm:chPref val="0"/>
        </dgm:presLayoutVars>
      </dgm:prSet>
      <dgm:spPr/>
    </dgm:pt>
    <dgm:pt modelId="{4C858940-98F3-4CC6-97D9-6C985D1A8EB8}" type="pres">
      <dgm:prSet presAssocID="{ED4C4428-1F9D-1A42-ABB8-9165D2A6C816}" presName="sibTrans" presStyleCnt="0"/>
      <dgm:spPr/>
    </dgm:pt>
    <dgm:pt modelId="{128CCE2A-ED9C-459B-BB3F-AD745012EF33}" type="pres">
      <dgm:prSet presAssocID="{1E0E44A8-7E6F-704F-9D4A-6691F3BAA95B}" presName="compNode" presStyleCnt="0"/>
      <dgm:spPr/>
    </dgm:pt>
    <dgm:pt modelId="{F69F1FFD-D896-4C97-9921-15C78CE9ECFF}" type="pres">
      <dgm:prSet presAssocID="{1E0E44A8-7E6F-704F-9D4A-6691F3BAA95B}" presName="bgRect" presStyleLbl="bgShp" presStyleIdx="3" presStyleCnt="4"/>
      <dgm:spPr/>
    </dgm:pt>
    <dgm:pt modelId="{0699B2C6-BCF6-4696-AA51-ED840660D654}" type="pres">
      <dgm:prSet presAssocID="{1E0E44A8-7E6F-704F-9D4A-6691F3BAA95B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1E8A3E91-C0C5-4BFA-9C6C-8965EDC8B4B4}" type="pres">
      <dgm:prSet presAssocID="{1E0E44A8-7E6F-704F-9D4A-6691F3BAA95B}" presName="spaceRect" presStyleCnt="0"/>
      <dgm:spPr/>
    </dgm:pt>
    <dgm:pt modelId="{EFCF0F91-1415-4594-A5AF-064CC5407971}" type="pres">
      <dgm:prSet presAssocID="{1E0E44A8-7E6F-704F-9D4A-6691F3BAA95B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34D5B867-E4B7-C449-A467-A456444FBAFF}" srcId="{9DB88A76-B933-A64F-84C4-143F47CFF6AF}" destId="{464918D8-346C-FD47-9DB4-B174CE87CDE6}" srcOrd="2" destOrd="0" parTransId="{058C9E90-EEE6-6A4C-90F1-0E064E55F851}" sibTransId="{ED4C4428-1F9D-1A42-ABB8-9165D2A6C816}"/>
    <dgm:cxn modelId="{8801054C-68DA-C944-8154-09E3153709F2}" srcId="{9DB88A76-B933-A64F-84C4-143F47CFF6AF}" destId="{B3F89B9F-C542-6E48-B53A-10B3071BAA9D}" srcOrd="1" destOrd="0" parTransId="{EDD7AFD5-BD9F-8646-A1B0-6BC56C00E5B7}" sibTransId="{DADFD056-28F8-BA41-991D-E729E2215504}"/>
    <dgm:cxn modelId="{6AD3A34C-C79A-E24F-89E7-4B3AE664C362}" type="presOf" srcId="{1E0E44A8-7E6F-704F-9D4A-6691F3BAA95B}" destId="{EFCF0F91-1415-4594-A5AF-064CC5407971}" srcOrd="0" destOrd="0" presId="urn:microsoft.com/office/officeart/2018/2/layout/IconVerticalSolidList"/>
    <dgm:cxn modelId="{12D7C186-0CF2-9E4E-B00C-7B990CCCF9E4}" srcId="{9DB88A76-B933-A64F-84C4-143F47CFF6AF}" destId="{EEC88222-9E0B-6F49-A7CC-7A3F920F961E}" srcOrd="0" destOrd="0" parTransId="{6FAB5E0E-9CCB-D44D-901C-AD98EBD4BD74}" sibTransId="{CC58D917-E8D4-0246-88C4-10D2133E1938}"/>
    <dgm:cxn modelId="{6309BB89-0101-394D-A84C-744992031328}" type="presOf" srcId="{B3F89B9F-C542-6E48-B53A-10B3071BAA9D}" destId="{2AFA2F02-A4C5-4676-83BC-A73D4E856C34}" srcOrd="0" destOrd="0" presId="urn:microsoft.com/office/officeart/2018/2/layout/IconVerticalSolidList"/>
    <dgm:cxn modelId="{F6616EAB-1791-CC4A-979C-2C7B782ED55F}" type="presOf" srcId="{9DB88A76-B933-A64F-84C4-143F47CFF6AF}" destId="{FD2D1B7B-8ECD-496F-9931-A2F0D39E650E}" srcOrd="0" destOrd="0" presId="urn:microsoft.com/office/officeart/2018/2/layout/IconVerticalSolidList"/>
    <dgm:cxn modelId="{EB9BD7B8-629C-7140-907E-05F5142E5D97}" type="presOf" srcId="{EEC88222-9E0B-6F49-A7CC-7A3F920F961E}" destId="{F5A59E59-25CA-4AB8-AF9F-065091EDF2AD}" srcOrd="0" destOrd="0" presId="urn:microsoft.com/office/officeart/2018/2/layout/IconVerticalSolidList"/>
    <dgm:cxn modelId="{D534BCC2-9C0A-494F-97E3-3883452D480C}" srcId="{9DB88A76-B933-A64F-84C4-143F47CFF6AF}" destId="{1E0E44A8-7E6F-704F-9D4A-6691F3BAA95B}" srcOrd="3" destOrd="0" parTransId="{7F4B538E-2FE6-0B42-AB47-B2B99165A710}" sibTransId="{9663ED88-7DDA-684F-911E-EC6027FEC3EC}"/>
    <dgm:cxn modelId="{AFAD2EC7-9748-B347-B869-9AA2D6F4B0F3}" type="presOf" srcId="{464918D8-346C-FD47-9DB4-B174CE87CDE6}" destId="{E6C92912-AD35-48A9-87DC-E62942F21BA3}" srcOrd="0" destOrd="0" presId="urn:microsoft.com/office/officeart/2018/2/layout/IconVerticalSolidList"/>
    <dgm:cxn modelId="{A456AE43-1C40-5645-B720-F43951AF03D6}" type="presParOf" srcId="{FD2D1B7B-8ECD-496F-9931-A2F0D39E650E}" destId="{741EB1F5-E3A9-4000-B5A2-7079FA72DBD5}" srcOrd="0" destOrd="0" presId="urn:microsoft.com/office/officeart/2018/2/layout/IconVerticalSolidList"/>
    <dgm:cxn modelId="{1539BEE8-8AA9-D245-9212-B49DDBDC3304}" type="presParOf" srcId="{741EB1F5-E3A9-4000-B5A2-7079FA72DBD5}" destId="{39CCAF4E-F465-4244-8794-816179560F1F}" srcOrd="0" destOrd="0" presId="urn:microsoft.com/office/officeart/2018/2/layout/IconVerticalSolidList"/>
    <dgm:cxn modelId="{389A0F4D-2264-3345-8395-8D2A74137DB1}" type="presParOf" srcId="{741EB1F5-E3A9-4000-B5A2-7079FA72DBD5}" destId="{902A56BF-AF2D-4056-A4E0-2F4934D0828E}" srcOrd="1" destOrd="0" presId="urn:microsoft.com/office/officeart/2018/2/layout/IconVerticalSolidList"/>
    <dgm:cxn modelId="{EB2B3DC1-1764-B144-96FE-9137197D41B8}" type="presParOf" srcId="{741EB1F5-E3A9-4000-B5A2-7079FA72DBD5}" destId="{EC568AD3-98D9-4E91-A73A-405A3BF4207D}" srcOrd="2" destOrd="0" presId="urn:microsoft.com/office/officeart/2018/2/layout/IconVerticalSolidList"/>
    <dgm:cxn modelId="{56CF2A26-2DEF-D749-9DA9-46C91FD686A4}" type="presParOf" srcId="{741EB1F5-E3A9-4000-B5A2-7079FA72DBD5}" destId="{F5A59E59-25CA-4AB8-AF9F-065091EDF2AD}" srcOrd="3" destOrd="0" presId="urn:microsoft.com/office/officeart/2018/2/layout/IconVerticalSolidList"/>
    <dgm:cxn modelId="{5E6BC06F-3BCC-AA44-8D8C-68FAAA23BB2B}" type="presParOf" srcId="{FD2D1B7B-8ECD-496F-9931-A2F0D39E650E}" destId="{5AF0B7BB-6FE9-46A8-AAFC-EDC6F382552C}" srcOrd="1" destOrd="0" presId="urn:microsoft.com/office/officeart/2018/2/layout/IconVerticalSolidList"/>
    <dgm:cxn modelId="{0E3518DA-B5A6-F447-80DB-355F3C945510}" type="presParOf" srcId="{FD2D1B7B-8ECD-496F-9931-A2F0D39E650E}" destId="{D5CE196C-07C0-4F0F-8F74-9C409CA5BF3C}" srcOrd="2" destOrd="0" presId="urn:microsoft.com/office/officeart/2018/2/layout/IconVerticalSolidList"/>
    <dgm:cxn modelId="{7034CE56-A3AB-364C-8ED8-E627ECC9D491}" type="presParOf" srcId="{D5CE196C-07C0-4F0F-8F74-9C409CA5BF3C}" destId="{8AD95ADB-D513-4BFB-A38A-6280FA9CA1C8}" srcOrd="0" destOrd="0" presId="urn:microsoft.com/office/officeart/2018/2/layout/IconVerticalSolidList"/>
    <dgm:cxn modelId="{1FFA3194-6D44-C541-896F-476F589EEFD6}" type="presParOf" srcId="{D5CE196C-07C0-4F0F-8F74-9C409CA5BF3C}" destId="{E02C7757-C3F8-44C6-A753-F3EF9A22B54E}" srcOrd="1" destOrd="0" presId="urn:microsoft.com/office/officeart/2018/2/layout/IconVerticalSolidList"/>
    <dgm:cxn modelId="{14ECC1D1-93D0-A544-A624-DEACCCA157B9}" type="presParOf" srcId="{D5CE196C-07C0-4F0F-8F74-9C409CA5BF3C}" destId="{59940647-F4ED-444E-8C22-884F291DBC5D}" srcOrd="2" destOrd="0" presId="urn:microsoft.com/office/officeart/2018/2/layout/IconVerticalSolidList"/>
    <dgm:cxn modelId="{A00616A0-0D38-4C40-A941-4EE8771097FE}" type="presParOf" srcId="{D5CE196C-07C0-4F0F-8F74-9C409CA5BF3C}" destId="{2AFA2F02-A4C5-4676-83BC-A73D4E856C34}" srcOrd="3" destOrd="0" presId="urn:microsoft.com/office/officeart/2018/2/layout/IconVerticalSolidList"/>
    <dgm:cxn modelId="{138A3D4B-B091-5341-8427-0E0C05FDB7C8}" type="presParOf" srcId="{FD2D1B7B-8ECD-496F-9931-A2F0D39E650E}" destId="{6F608D17-A00D-44C6-B494-438EF867116A}" srcOrd="3" destOrd="0" presId="urn:microsoft.com/office/officeart/2018/2/layout/IconVerticalSolidList"/>
    <dgm:cxn modelId="{B1E1E454-8223-D643-9600-0031893C20B2}" type="presParOf" srcId="{FD2D1B7B-8ECD-496F-9931-A2F0D39E650E}" destId="{510134FC-579F-4767-93CF-CCAB13BAE5A2}" srcOrd="4" destOrd="0" presId="urn:microsoft.com/office/officeart/2018/2/layout/IconVerticalSolidList"/>
    <dgm:cxn modelId="{13A7FA9D-D1D2-3340-BEDC-3E4B291E84F1}" type="presParOf" srcId="{510134FC-579F-4767-93CF-CCAB13BAE5A2}" destId="{75BFE927-EAF8-495A-B906-2A823C492E0A}" srcOrd="0" destOrd="0" presId="urn:microsoft.com/office/officeart/2018/2/layout/IconVerticalSolidList"/>
    <dgm:cxn modelId="{997E63BB-A0B1-4F40-B89D-0447B09740EA}" type="presParOf" srcId="{510134FC-579F-4767-93CF-CCAB13BAE5A2}" destId="{047FB047-4E01-45BE-9013-BD1BB84A01A1}" srcOrd="1" destOrd="0" presId="urn:microsoft.com/office/officeart/2018/2/layout/IconVerticalSolidList"/>
    <dgm:cxn modelId="{EF1CB14F-78A0-0B4F-A829-49A4D0BF57C3}" type="presParOf" srcId="{510134FC-579F-4767-93CF-CCAB13BAE5A2}" destId="{11A52B9C-0FAA-4414-BCE4-833E3F252D71}" srcOrd="2" destOrd="0" presId="urn:microsoft.com/office/officeart/2018/2/layout/IconVerticalSolidList"/>
    <dgm:cxn modelId="{52BF17E1-D74A-BB47-80E7-5AFF46F6891E}" type="presParOf" srcId="{510134FC-579F-4767-93CF-CCAB13BAE5A2}" destId="{E6C92912-AD35-48A9-87DC-E62942F21BA3}" srcOrd="3" destOrd="0" presId="urn:microsoft.com/office/officeart/2018/2/layout/IconVerticalSolidList"/>
    <dgm:cxn modelId="{8FCF8968-1142-D040-8F8A-5AA7C05032B9}" type="presParOf" srcId="{FD2D1B7B-8ECD-496F-9931-A2F0D39E650E}" destId="{4C858940-98F3-4CC6-97D9-6C985D1A8EB8}" srcOrd="5" destOrd="0" presId="urn:microsoft.com/office/officeart/2018/2/layout/IconVerticalSolidList"/>
    <dgm:cxn modelId="{57F99874-32B0-0B47-B690-F2C64CD456DF}" type="presParOf" srcId="{FD2D1B7B-8ECD-496F-9931-A2F0D39E650E}" destId="{128CCE2A-ED9C-459B-BB3F-AD745012EF33}" srcOrd="6" destOrd="0" presId="urn:microsoft.com/office/officeart/2018/2/layout/IconVerticalSolidList"/>
    <dgm:cxn modelId="{E150633E-5440-854F-9081-A11E7D38B515}" type="presParOf" srcId="{128CCE2A-ED9C-459B-BB3F-AD745012EF33}" destId="{F69F1FFD-D896-4C97-9921-15C78CE9ECFF}" srcOrd="0" destOrd="0" presId="urn:microsoft.com/office/officeart/2018/2/layout/IconVerticalSolidList"/>
    <dgm:cxn modelId="{9A1CDAF4-B372-A240-8B0E-0ACC0123A939}" type="presParOf" srcId="{128CCE2A-ED9C-459B-BB3F-AD745012EF33}" destId="{0699B2C6-BCF6-4696-AA51-ED840660D654}" srcOrd="1" destOrd="0" presId="urn:microsoft.com/office/officeart/2018/2/layout/IconVerticalSolidList"/>
    <dgm:cxn modelId="{D9A5DBB8-DAF5-9544-9FFC-C1C82A5D01A1}" type="presParOf" srcId="{128CCE2A-ED9C-459B-BB3F-AD745012EF33}" destId="{1E8A3E91-C0C5-4BFA-9C6C-8965EDC8B4B4}" srcOrd="2" destOrd="0" presId="urn:microsoft.com/office/officeart/2018/2/layout/IconVerticalSolidList"/>
    <dgm:cxn modelId="{E00B3F19-9DD3-8649-ACFA-B5A2D09048D1}" type="presParOf" srcId="{128CCE2A-ED9C-459B-BB3F-AD745012EF33}" destId="{EFCF0F91-1415-4594-A5AF-064CC5407971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F54135C-B61C-41CF-BF3B-DA6A00625A65}" type="doc">
      <dgm:prSet loTypeId="urn:microsoft.com/office/officeart/2005/8/layout/list1" loCatId="list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904FE041-929A-437F-B974-8F1D69D285AC}">
      <dgm:prSet/>
      <dgm:spPr/>
      <dgm:t>
        <a:bodyPr/>
        <a:lstStyle/>
        <a:p>
          <a:r>
            <a:rPr lang="de-DE" dirty="0"/>
            <a:t>Features [6]: </a:t>
          </a:r>
          <a:endParaRPr lang="en-US" dirty="0"/>
        </a:p>
      </dgm:t>
    </dgm:pt>
    <dgm:pt modelId="{89A916F6-BEA2-433F-A062-1575241886F9}" type="parTrans" cxnId="{A0DB6CE6-A875-4D8F-9AB4-DEE573286537}">
      <dgm:prSet/>
      <dgm:spPr/>
      <dgm:t>
        <a:bodyPr/>
        <a:lstStyle/>
        <a:p>
          <a:endParaRPr lang="en-US"/>
        </a:p>
      </dgm:t>
    </dgm:pt>
    <dgm:pt modelId="{7CFF5162-A4C7-474E-8DA8-7103A1735008}" type="sibTrans" cxnId="{A0DB6CE6-A875-4D8F-9AB4-DEE573286537}">
      <dgm:prSet/>
      <dgm:spPr/>
      <dgm:t>
        <a:bodyPr/>
        <a:lstStyle/>
        <a:p>
          <a:endParaRPr lang="en-US"/>
        </a:p>
      </dgm:t>
    </dgm:pt>
    <dgm:pt modelId="{B8F38B6B-4D6D-4783-9CCE-C7495F9945C6}">
      <dgm:prSet/>
      <dgm:spPr/>
      <dgm:t>
        <a:bodyPr/>
        <a:lstStyle/>
        <a:p>
          <a:r>
            <a:rPr lang="en-US" dirty="0"/>
            <a:t>Request rate (per minute)</a:t>
          </a:r>
        </a:p>
      </dgm:t>
    </dgm:pt>
    <dgm:pt modelId="{D175516E-EE3C-4A40-AE3F-992D021CDD75}" type="parTrans" cxnId="{F4B0F7BE-9496-42B6-A629-0C3683AC45B0}">
      <dgm:prSet/>
      <dgm:spPr/>
      <dgm:t>
        <a:bodyPr/>
        <a:lstStyle/>
        <a:p>
          <a:endParaRPr lang="en-US"/>
        </a:p>
      </dgm:t>
    </dgm:pt>
    <dgm:pt modelId="{FED1ED76-7C19-4C2A-BC73-E0D6E7E5CB88}" type="sibTrans" cxnId="{F4B0F7BE-9496-42B6-A629-0C3683AC45B0}">
      <dgm:prSet/>
      <dgm:spPr/>
      <dgm:t>
        <a:bodyPr/>
        <a:lstStyle/>
        <a:p>
          <a:endParaRPr lang="en-US"/>
        </a:p>
      </dgm:t>
    </dgm:pt>
    <dgm:pt modelId="{3BD78A42-5049-41B5-9B5F-38A75FAB684B}">
      <dgm:prSet/>
      <dgm:spPr/>
      <dgm:t>
        <a:bodyPr/>
        <a:lstStyle/>
        <a:p>
          <a:r>
            <a:rPr lang="en-US" dirty="0"/>
            <a:t>Response time (in seconds)</a:t>
          </a:r>
        </a:p>
      </dgm:t>
    </dgm:pt>
    <dgm:pt modelId="{47A871CD-89C7-45FB-9CB9-E557C1CD435F}" type="parTrans" cxnId="{84F781F5-6417-4814-8AC1-0690D190D5CF}">
      <dgm:prSet/>
      <dgm:spPr/>
      <dgm:t>
        <a:bodyPr/>
        <a:lstStyle/>
        <a:p>
          <a:endParaRPr lang="en-US"/>
        </a:p>
      </dgm:t>
    </dgm:pt>
    <dgm:pt modelId="{6F24D5C1-17A0-4DA5-8C54-3CE6AF6D0371}" type="sibTrans" cxnId="{84F781F5-6417-4814-8AC1-0690D190D5CF}">
      <dgm:prSet/>
      <dgm:spPr/>
      <dgm:t>
        <a:bodyPr/>
        <a:lstStyle/>
        <a:p>
          <a:endParaRPr lang="en-US"/>
        </a:p>
      </dgm:t>
    </dgm:pt>
    <dgm:pt modelId="{3F4400B2-AFE6-44A7-9CF5-6834292AC90A}">
      <dgm:prSet/>
      <dgm:spPr/>
      <dgm:t>
        <a:bodyPr/>
        <a:lstStyle/>
        <a:p>
          <a:r>
            <a:rPr lang="en-US" dirty="0"/>
            <a:t>Utilization of resources (CPU &amp; RAM Usage in percent)</a:t>
          </a:r>
        </a:p>
      </dgm:t>
    </dgm:pt>
    <dgm:pt modelId="{A2D05693-642C-48B0-B2FE-A242874F83D7}" type="parTrans" cxnId="{3DE185C7-20A1-4763-A642-3B2DB9D89CDB}">
      <dgm:prSet/>
      <dgm:spPr/>
      <dgm:t>
        <a:bodyPr/>
        <a:lstStyle/>
        <a:p>
          <a:endParaRPr lang="en-US"/>
        </a:p>
      </dgm:t>
    </dgm:pt>
    <dgm:pt modelId="{BF7DEEF6-0FC7-424D-BBC0-82E0FB08677B}" type="sibTrans" cxnId="{3DE185C7-20A1-4763-A642-3B2DB9D89CDB}">
      <dgm:prSet/>
      <dgm:spPr/>
      <dgm:t>
        <a:bodyPr/>
        <a:lstStyle/>
        <a:p>
          <a:endParaRPr lang="en-US"/>
        </a:p>
      </dgm:t>
    </dgm:pt>
    <dgm:pt modelId="{96FEAA2D-FCCF-4D3C-945E-B7A832E850BE}">
      <dgm:prSet/>
      <dgm:spPr/>
      <dgm:t>
        <a:bodyPr/>
        <a:lstStyle/>
        <a:p>
          <a:r>
            <a:rPr lang="de-DE"/>
            <a:t>Output:</a:t>
          </a:r>
          <a:endParaRPr lang="en-US"/>
        </a:p>
      </dgm:t>
    </dgm:pt>
    <dgm:pt modelId="{2BB8B496-9B61-4CF7-BABD-F6631C359D40}" type="parTrans" cxnId="{F013F003-BAD3-48BA-B863-5A7D8537AFBC}">
      <dgm:prSet/>
      <dgm:spPr/>
      <dgm:t>
        <a:bodyPr/>
        <a:lstStyle/>
        <a:p>
          <a:endParaRPr lang="en-US"/>
        </a:p>
      </dgm:t>
    </dgm:pt>
    <dgm:pt modelId="{9171EADF-E925-48EA-918E-77E658C5F229}" type="sibTrans" cxnId="{F013F003-BAD3-48BA-B863-5A7D8537AFBC}">
      <dgm:prSet/>
      <dgm:spPr/>
      <dgm:t>
        <a:bodyPr/>
        <a:lstStyle/>
        <a:p>
          <a:endParaRPr lang="en-US"/>
        </a:p>
      </dgm:t>
    </dgm:pt>
    <dgm:pt modelId="{15EBC06B-C402-4082-9E26-146DA4F14AF7}">
      <dgm:prSet/>
      <dgm:spPr/>
      <dgm:t>
        <a:bodyPr/>
        <a:lstStyle/>
        <a:p>
          <a:r>
            <a:rPr lang="de-DE"/>
            <a:t>Predictive performance model</a:t>
          </a:r>
          <a:endParaRPr lang="en-US"/>
        </a:p>
      </dgm:t>
    </dgm:pt>
    <dgm:pt modelId="{B71B48E0-D72F-43C6-96BD-D4D9A0C28D85}" type="parTrans" cxnId="{62F1EF1D-DC99-4703-8B2C-A38798CAD2BF}">
      <dgm:prSet/>
      <dgm:spPr/>
      <dgm:t>
        <a:bodyPr/>
        <a:lstStyle/>
        <a:p>
          <a:endParaRPr lang="en-US"/>
        </a:p>
      </dgm:t>
    </dgm:pt>
    <dgm:pt modelId="{1A2CF426-11D6-4AE4-9504-2F5C1DA06123}" type="sibTrans" cxnId="{62F1EF1D-DC99-4703-8B2C-A38798CAD2BF}">
      <dgm:prSet/>
      <dgm:spPr/>
      <dgm:t>
        <a:bodyPr/>
        <a:lstStyle/>
        <a:p>
          <a:endParaRPr lang="en-US"/>
        </a:p>
      </dgm:t>
    </dgm:pt>
    <dgm:pt modelId="{B726875F-34A4-4567-9E4C-DEA5F2A71779}">
      <dgm:prSet/>
      <dgm:spPr/>
      <dgm:t>
        <a:bodyPr/>
        <a:lstStyle/>
        <a:p>
          <a:r>
            <a:rPr lang="de-DE" dirty="0" err="1"/>
            <a:t>Scaling</a:t>
          </a:r>
          <a:r>
            <a:rPr lang="de-DE" dirty="0"/>
            <a:t> </a:t>
          </a:r>
          <a:r>
            <a:rPr lang="de-DE" dirty="0" err="1"/>
            <a:t>strategy</a:t>
          </a:r>
          <a:r>
            <a:rPr lang="de-DE" dirty="0"/>
            <a:t>: </a:t>
          </a:r>
          <a:r>
            <a:rPr lang="de-DE" dirty="0" err="1"/>
            <a:t>vertical</a:t>
          </a:r>
          <a:r>
            <a:rPr lang="de-DE" dirty="0"/>
            <a:t> </a:t>
          </a:r>
          <a:r>
            <a:rPr lang="de-DE" dirty="0" err="1"/>
            <a:t>or</a:t>
          </a:r>
          <a:r>
            <a:rPr lang="de-DE" dirty="0"/>
            <a:t>/</a:t>
          </a:r>
          <a:r>
            <a:rPr lang="de-DE" dirty="0" err="1"/>
            <a:t>and</a:t>
          </a:r>
          <a:r>
            <a:rPr lang="de-DE" dirty="0"/>
            <a:t> horizontal</a:t>
          </a:r>
          <a:endParaRPr lang="en-US" dirty="0"/>
        </a:p>
      </dgm:t>
    </dgm:pt>
    <dgm:pt modelId="{A267FEE1-B57D-493E-A80A-EFD0F2724433}" type="parTrans" cxnId="{54AFB76B-94D3-4D35-AD90-9D8364C6F24D}">
      <dgm:prSet/>
      <dgm:spPr/>
      <dgm:t>
        <a:bodyPr/>
        <a:lstStyle/>
        <a:p>
          <a:endParaRPr lang="en-US"/>
        </a:p>
      </dgm:t>
    </dgm:pt>
    <dgm:pt modelId="{9F897544-DB27-4BB1-80DB-66E218A1AE10}" type="sibTrans" cxnId="{54AFB76B-94D3-4D35-AD90-9D8364C6F24D}">
      <dgm:prSet/>
      <dgm:spPr/>
      <dgm:t>
        <a:bodyPr/>
        <a:lstStyle/>
        <a:p>
          <a:endParaRPr lang="en-US"/>
        </a:p>
      </dgm:t>
    </dgm:pt>
    <dgm:pt modelId="{5B376657-C400-9A49-BD2D-3B9CABF93934}">
      <dgm:prSet/>
      <dgm:spPr/>
      <dgm:t>
        <a:bodyPr/>
        <a:lstStyle/>
        <a:p>
          <a:r>
            <a:rPr lang="en-US" dirty="0"/>
            <a:t>Unused resources</a:t>
          </a:r>
        </a:p>
      </dgm:t>
    </dgm:pt>
    <dgm:pt modelId="{F358FE09-4FCD-3140-9CEC-BEB91A1C319E}" type="parTrans" cxnId="{619F436B-93F5-6641-A89C-F77460BD24E5}">
      <dgm:prSet/>
      <dgm:spPr/>
      <dgm:t>
        <a:bodyPr/>
        <a:lstStyle/>
        <a:p>
          <a:endParaRPr lang="en-US"/>
        </a:p>
      </dgm:t>
    </dgm:pt>
    <dgm:pt modelId="{30750C70-2CED-F44F-A768-E23FBAC38FA4}" type="sibTrans" cxnId="{619F436B-93F5-6641-A89C-F77460BD24E5}">
      <dgm:prSet/>
      <dgm:spPr/>
      <dgm:t>
        <a:bodyPr/>
        <a:lstStyle/>
        <a:p>
          <a:endParaRPr lang="en-US"/>
        </a:p>
      </dgm:t>
    </dgm:pt>
    <dgm:pt modelId="{7041FE92-D7F1-DD49-BA45-5333FEDCBAA5}">
      <dgm:prSet/>
      <dgm:spPr/>
      <dgm:t>
        <a:bodyPr/>
        <a:lstStyle/>
        <a:p>
          <a:r>
            <a:rPr lang="en-US" dirty="0"/>
            <a:t>Request size (in mb)</a:t>
          </a:r>
        </a:p>
      </dgm:t>
    </dgm:pt>
    <dgm:pt modelId="{8588895F-C81D-A148-B858-B50C206140D3}" type="parTrans" cxnId="{98B6FA59-495D-5045-829D-4AF873F3EC5D}">
      <dgm:prSet/>
      <dgm:spPr/>
      <dgm:t>
        <a:bodyPr/>
        <a:lstStyle/>
        <a:p>
          <a:endParaRPr lang="en-US"/>
        </a:p>
      </dgm:t>
    </dgm:pt>
    <dgm:pt modelId="{2AD4B419-7C68-3044-B475-6926391340B6}" type="sibTrans" cxnId="{98B6FA59-495D-5045-829D-4AF873F3EC5D}">
      <dgm:prSet/>
      <dgm:spPr/>
      <dgm:t>
        <a:bodyPr/>
        <a:lstStyle/>
        <a:p>
          <a:endParaRPr lang="en-US"/>
        </a:p>
      </dgm:t>
    </dgm:pt>
    <dgm:pt modelId="{4B2CABB7-5AF0-354C-B3F2-CC97A8AFA1C0}" type="pres">
      <dgm:prSet presAssocID="{2F54135C-B61C-41CF-BF3B-DA6A00625A65}" presName="linear" presStyleCnt="0">
        <dgm:presLayoutVars>
          <dgm:dir/>
          <dgm:animLvl val="lvl"/>
          <dgm:resizeHandles val="exact"/>
        </dgm:presLayoutVars>
      </dgm:prSet>
      <dgm:spPr/>
    </dgm:pt>
    <dgm:pt modelId="{F76AE292-CB07-8647-9377-C9A3657C3EAC}" type="pres">
      <dgm:prSet presAssocID="{904FE041-929A-437F-B974-8F1D69D285AC}" presName="parentLin" presStyleCnt="0"/>
      <dgm:spPr/>
    </dgm:pt>
    <dgm:pt modelId="{81809ADE-15D0-7D47-932C-C43E271A3294}" type="pres">
      <dgm:prSet presAssocID="{904FE041-929A-437F-B974-8F1D69D285AC}" presName="parentLeftMargin" presStyleLbl="node1" presStyleIdx="0" presStyleCnt="2"/>
      <dgm:spPr/>
    </dgm:pt>
    <dgm:pt modelId="{B9A068BC-274A-1E41-A93D-4AC56D3DA97A}" type="pres">
      <dgm:prSet presAssocID="{904FE041-929A-437F-B974-8F1D69D285AC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5B90BC6E-0216-344E-9D09-FFE59E6A8B48}" type="pres">
      <dgm:prSet presAssocID="{904FE041-929A-437F-B974-8F1D69D285AC}" presName="negativeSpace" presStyleCnt="0"/>
      <dgm:spPr/>
    </dgm:pt>
    <dgm:pt modelId="{217009ED-6E12-A74C-B03E-DED1043E544A}" type="pres">
      <dgm:prSet presAssocID="{904FE041-929A-437F-B974-8F1D69D285AC}" presName="childText" presStyleLbl="conFgAcc1" presStyleIdx="0" presStyleCnt="2">
        <dgm:presLayoutVars>
          <dgm:bulletEnabled val="1"/>
        </dgm:presLayoutVars>
      </dgm:prSet>
      <dgm:spPr/>
    </dgm:pt>
    <dgm:pt modelId="{31D0A7CA-7D4F-284D-B92F-C379C1409476}" type="pres">
      <dgm:prSet presAssocID="{7CFF5162-A4C7-474E-8DA8-7103A1735008}" presName="spaceBetweenRectangles" presStyleCnt="0"/>
      <dgm:spPr/>
    </dgm:pt>
    <dgm:pt modelId="{B5CE8724-0797-1E45-B6D8-47EE45166006}" type="pres">
      <dgm:prSet presAssocID="{96FEAA2D-FCCF-4D3C-945E-B7A832E850BE}" presName="parentLin" presStyleCnt="0"/>
      <dgm:spPr/>
    </dgm:pt>
    <dgm:pt modelId="{05BECEE4-DD79-FA4F-B302-C1CAB0DDF607}" type="pres">
      <dgm:prSet presAssocID="{96FEAA2D-FCCF-4D3C-945E-B7A832E850BE}" presName="parentLeftMargin" presStyleLbl="node1" presStyleIdx="0" presStyleCnt="2"/>
      <dgm:spPr/>
    </dgm:pt>
    <dgm:pt modelId="{132F83A4-CC0B-AF47-8ADE-9B344EB84EC2}" type="pres">
      <dgm:prSet presAssocID="{96FEAA2D-FCCF-4D3C-945E-B7A832E850BE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B5F18DE0-784C-F442-B7A9-C73DDB5F224A}" type="pres">
      <dgm:prSet presAssocID="{96FEAA2D-FCCF-4D3C-945E-B7A832E850BE}" presName="negativeSpace" presStyleCnt="0"/>
      <dgm:spPr/>
    </dgm:pt>
    <dgm:pt modelId="{C9ED8839-4060-0948-ADC1-34005C0A8A8E}" type="pres">
      <dgm:prSet presAssocID="{96FEAA2D-FCCF-4D3C-945E-B7A832E850BE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F013F003-BAD3-48BA-B863-5A7D8537AFBC}" srcId="{2F54135C-B61C-41CF-BF3B-DA6A00625A65}" destId="{96FEAA2D-FCCF-4D3C-945E-B7A832E850BE}" srcOrd="1" destOrd="0" parTransId="{2BB8B496-9B61-4CF7-BABD-F6631C359D40}" sibTransId="{9171EADF-E925-48EA-918E-77E658C5F229}"/>
    <dgm:cxn modelId="{22CAFC0A-FE77-A14F-BC31-31CA06A91A85}" type="presOf" srcId="{3BD78A42-5049-41B5-9B5F-38A75FAB684B}" destId="{217009ED-6E12-A74C-B03E-DED1043E544A}" srcOrd="0" destOrd="2" presId="urn:microsoft.com/office/officeart/2005/8/layout/list1"/>
    <dgm:cxn modelId="{606FBD10-22FD-1141-BA2B-62B50AB81DB4}" type="presOf" srcId="{15EBC06B-C402-4082-9E26-146DA4F14AF7}" destId="{C9ED8839-4060-0948-ADC1-34005C0A8A8E}" srcOrd="0" destOrd="0" presId="urn:microsoft.com/office/officeart/2005/8/layout/list1"/>
    <dgm:cxn modelId="{BF07251D-57FF-0641-864D-2986DE998924}" type="presOf" srcId="{B8F38B6B-4D6D-4783-9CCE-C7495F9945C6}" destId="{217009ED-6E12-A74C-B03E-DED1043E544A}" srcOrd="0" destOrd="0" presId="urn:microsoft.com/office/officeart/2005/8/layout/list1"/>
    <dgm:cxn modelId="{62F1EF1D-DC99-4703-8B2C-A38798CAD2BF}" srcId="{96FEAA2D-FCCF-4D3C-945E-B7A832E850BE}" destId="{15EBC06B-C402-4082-9E26-146DA4F14AF7}" srcOrd="0" destOrd="0" parTransId="{B71B48E0-D72F-43C6-96BD-D4D9A0C28D85}" sibTransId="{1A2CF426-11D6-4AE4-9504-2F5C1DA06123}"/>
    <dgm:cxn modelId="{619F436B-93F5-6641-A89C-F77460BD24E5}" srcId="{904FE041-929A-437F-B974-8F1D69D285AC}" destId="{5B376657-C400-9A49-BD2D-3B9CABF93934}" srcOrd="4" destOrd="0" parTransId="{F358FE09-4FCD-3140-9CEC-BEB91A1C319E}" sibTransId="{30750C70-2CED-F44F-A768-E23FBAC38FA4}"/>
    <dgm:cxn modelId="{54AFB76B-94D3-4D35-AD90-9D8364C6F24D}" srcId="{96FEAA2D-FCCF-4D3C-945E-B7A832E850BE}" destId="{B726875F-34A4-4567-9E4C-DEA5F2A71779}" srcOrd="1" destOrd="0" parTransId="{A267FEE1-B57D-493E-A80A-EFD0F2724433}" sibTransId="{9F897544-DB27-4BB1-80DB-66E218A1AE10}"/>
    <dgm:cxn modelId="{2290436C-2218-854D-A589-5C608BCA9833}" type="presOf" srcId="{5B376657-C400-9A49-BD2D-3B9CABF93934}" destId="{217009ED-6E12-A74C-B03E-DED1043E544A}" srcOrd="0" destOrd="4" presId="urn:microsoft.com/office/officeart/2005/8/layout/list1"/>
    <dgm:cxn modelId="{98B6FA59-495D-5045-829D-4AF873F3EC5D}" srcId="{904FE041-929A-437F-B974-8F1D69D285AC}" destId="{7041FE92-D7F1-DD49-BA45-5333FEDCBAA5}" srcOrd="1" destOrd="0" parTransId="{8588895F-C81D-A148-B858-B50C206140D3}" sibTransId="{2AD4B419-7C68-3044-B475-6926391340B6}"/>
    <dgm:cxn modelId="{BA9D6988-8EE3-0347-A742-7476E5C14A43}" type="presOf" srcId="{2F54135C-B61C-41CF-BF3B-DA6A00625A65}" destId="{4B2CABB7-5AF0-354C-B3F2-CC97A8AFA1C0}" srcOrd="0" destOrd="0" presId="urn:microsoft.com/office/officeart/2005/8/layout/list1"/>
    <dgm:cxn modelId="{2287C389-C10B-9A4F-92C5-CF2FFFF59738}" type="presOf" srcId="{3F4400B2-AFE6-44A7-9CF5-6834292AC90A}" destId="{217009ED-6E12-A74C-B03E-DED1043E544A}" srcOrd="0" destOrd="3" presId="urn:microsoft.com/office/officeart/2005/8/layout/list1"/>
    <dgm:cxn modelId="{E022C397-3278-134A-A704-1CDD6214539D}" type="presOf" srcId="{96FEAA2D-FCCF-4D3C-945E-B7A832E850BE}" destId="{05BECEE4-DD79-FA4F-B302-C1CAB0DDF607}" srcOrd="0" destOrd="0" presId="urn:microsoft.com/office/officeart/2005/8/layout/list1"/>
    <dgm:cxn modelId="{E36E8D9D-1D59-AB41-BCDC-1946A0E0A68D}" type="presOf" srcId="{7041FE92-D7F1-DD49-BA45-5333FEDCBAA5}" destId="{217009ED-6E12-A74C-B03E-DED1043E544A}" srcOrd="0" destOrd="1" presId="urn:microsoft.com/office/officeart/2005/8/layout/list1"/>
    <dgm:cxn modelId="{800E189F-263C-4A45-A5BC-80D7AA15D1D8}" type="presOf" srcId="{904FE041-929A-437F-B974-8F1D69D285AC}" destId="{B9A068BC-274A-1E41-A93D-4AC56D3DA97A}" srcOrd="1" destOrd="0" presId="urn:microsoft.com/office/officeart/2005/8/layout/list1"/>
    <dgm:cxn modelId="{F4B0F7BE-9496-42B6-A629-0C3683AC45B0}" srcId="{904FE041-929A-437F-B974-8F1D69D285AC}" destId="{B8F38B6B-4D6D-4783-9CCE-C7495F9945C6}" srcOrd="0" destOrd="0" parTransId="{D175516E-EE3C-4A40-AE3F-992D021CDD75}" sibTransId="{FED1ED76-7C19-4C2A-BC73-E0D6E7E5CB88}"/>
    <dgm:cxn modelId="{3DE185C7-20A1-4763-A642-3B2DB9D89CDB}" srcId="{904FE041-929A-437F-B974-8F1D69D285AC}" destId="{3F4400B2-AFE6-44A7-9CF5-6834292AC90A}" srcOrd="3" destOrd="0" parTransId="{A2D05693-642C-48B0-B2FE-A242874F83D7}" sibTransId="{BF7DEEF6-0FC7-424D-BBC0-82E0FB08677B}"/>
    <dgm:cxn modelId="{8DF17CCE-13B8-4D4C-A8C5-23E9F10C034F}" type="presOf" srcId="{904FE041-929A-437F-B974-8F1D69D285AC}" destId="{81809ADE-15D0-7D47-932C-C43E271A3294}" srcOrd="0" destOrd="0" presId="urn:microsoft.com/office/officeart/2005/8/layout/list1"/>
    <dgm:cxn modelId="{949CAACF-49EA-C04F-92B9-63274F90F14D}" type="presOf" srcId="{96FEAA2D-FCCF-4D3C-945E-B7A832E850BE}" destId="{132F83A4-CC0B-AF47-8ADE-9B344EB84EC2}" srcOrd="1" destOrd="0" presId="urn:microsoft.com/office/officeart/2005/8/layout/list1"/>
    <dgm:cxn modelId="{A0DB6CE6-A875-4D8F-9AB4-DEE573286537}" srcId="{2F54135C-B61C-41CF-BF3B-DA6A00625A65}" destId="{904FE041-929A-437F-B974-8F1D69D285AC}" srcOrd="0" destOrd="0" parTransId="{89A916F6-BEA2-433F-A062-1575241886F9}" sibTransId="{7CFF5162-A4C7-474E-8DA8-7103A1735008}"/>
    <dgm:cxn modelId="{84F781F5-6417-4814-8AC1-0690D190D5CF}" srcId="{904FE041-929A-437F-B974-8F1D69D285AC}" destId="{3BD78A42-5049-41B5-9B5F-38A75FAB684B}" srcOrd="2" destOrd="0" parTransId="{47A871CD-89C7-45FB-9CB9-E557C1CD435F}" sibTransId="{6F24D5C1-17A0-4DA5-8C54-3CE6AF6D0371}"/>
    <dgm:cxn modelId="{C10366FA-2DC5-9E4A-9214-7401B399BAFD}" type="presOf" srcId="{B726875F-34A4-4567-9E4C-DEA5F2A71779}" destId="{C9ED8839-4060-0948-ADC1-34005C0A8A8E}" srcOrd="0" destOrd="1" presId="urn:microsoft.com/office/officeart/2005/8/layout/list1"/>
    <dgm:cxn modelId="{9E4A44C2-5194-6F40-B5DD-4E2F64C74627}" type="presParOf" srcId="{4B2CABB7-5AF0-354C-B3F2-CC97A8AFA1C0}" destId="{F76AE292-CB07-8647-9377-C9A3657C3EAC}" srcOrd="0" destOrd="0" presId="urn:microsoft.com/office/officeart/2005/8/layout/list1"/>
    <dgm:cxn modelId="{EDDD0E06-D555-B647-B5A3-4DA816E4AA53}" type="presParOf" srcId="{F76AE292-CB07-8647-9377-C9A3657C3EAC}" destId="{81809ADE-15D0-7D47-932C-C43E271A3294}" srcOrd="0" destOrd="0" presId="urn:microsoft.com/office/officeart/2005/8/layout/list1"/>
    <dgm:cxn modelId="{DDDF2F40-CA94-194E-A594-FAF08D77124C}" type="presParOf" srcId="{F76AE292-CB07-8647-9377-C9A3657C3EAC}" destId="{B9A068BC-274A-1E41-A93D-4AC56D3DA97A}" srcOrd="1" destOrd="0" presId="urn:microsoft.com/office/officeart/2005/8/layout/list1"/>
    <dgm:cxn modelId="{933A3F29-3AF2-C74D-994D-F67CCC3EC547}" type="presParOf" srcId="{4B2CABB7-5AF0-354C-B3F2-CC97A8AFA1C0}" destId="{5B90BC6E-0216-344E-9D09-FFE59E6A8B48}" srcOrd="1" destOrd="0" presId="urn:microsoft.com/office/officeart/2005/8/layout/list1"/>
    <dgm:cxn modelId="{2100D2A0-757B-6D4C-93F0-17D82743665D}" type="presParOf" srcId="{4B2CABB7-5AF0-354C-B3F2-CC97A8AFA1C0}" destId="{217009ED-6E12-A74C-B03E-DED1043E544A}" srcOrd="2" destOrd="0" presId="urn:microsoft.com/office/officeart/2005/8/layout/list1"/>
    <dgm:cxn modelId="{ACD29BCC-D027-5541-9883-10F7A7187553}" type="presParOf" srcId="{4B2CABB7-5AF0-354C-B3F2-CC97A8AFA1C0}" destId="{31D0A7CA-7D4F-284D-B92F-C379C1409476}" srcOrd="3" destOrd="0" presId="urn:microsoft.com/office/officeart/2005/8/layout/list1"/>
    <dgm:cxn modelId="{7468CEBC-D62D-9049-9EDC-BA1CB1073B35}" type="presParOf" srcId="{4B2CABB7-5AF0-354C-B3F2-CC97A8AFA1C0}" destId="{B5CE8724-0797-1E45-B6D8-47EE45166006}" srcOrd="4" destOrd="0" presId="urn:microsoft.com/office/officeart/2005/8/layout/list1"/>
    <dgm:cxn modelId="{7D960EEE-906E-434E-8F53-DB28B073F420}" type="presParOf" srcId="{B5CE8724-0797-1E45-B6D8-47EE45166006}" destId="{05BECEE4-DD79-FA4F-B302-C1CAB0DDF607}" srcOrd="0" destOrd="0" presId="urn:microsoft.com/office/officeart/2005/8/layout/list1"/>
    <dgm:cxn modelId="{901A09E1-5157-9E49-BE2A-ACEC879441D2}" type="presParOf" srcId="{B5CE8724-0797-1E45-B6D8-47EE45166006}" destId="{132F83A4-CC0B-AF47-8ADE-9B344EB84EC2}" srcOrd="1" destOrd="0" presId="urn:microsoft.com/office/officeart/2005/8/layout/list1"/>
    <dgm:cxn modelId="{C3D0B4D6-12C3-C347-AECE-9608918CA814}" type="presParOf" srcId="{4B2CABB7-5AF0-354C-B3F2-CC97A8AFA1C0}" destId="{B5F18DE0-784C-F442-B7A9-C73DDB5F224A}" srcOrd="5" destOrd="0" presId="urn:microsoft.com/office/officeart/2005/8/layout/list1"/>
    <dgm:cxn modelId="{E02B4B26-9EF1-1D49-ADAD-D20C6ABC9352}" type="presParOf" srcId="{4B2CABB7-5AF0-354C-B3F2-CC97A8AFA1C0}" destId="{C9ED8839-4060-0948-ADC1-34005C0A8A8E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CCAF4E-F465-4244-8794-816179560F1F}">
      <dsp:nvSpPr>
        <dsp:cNvPr id="0" name=""/>
        <dsp:cNvSpPr/>
      </dsp:nvSpPr>
      <dsp:spPr>
        <a:xfrm>
          <a:off x="0" y="1394"/>
          <a:ext cx="8783638" cy="70660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2A56BF-AF2D-4056-A4E0-2F4934D0828E}">
      <dsp:nvSpPr>
        <dsp:cNvPr id="0" name=""/>
        <dsp:cNvSpPr/>
      </dsp:nvSpPr>
      <dsp:spPr>
        <a:xfrm>
          <a:off x="213747" y="160379"/>
          <a:ext cx="388631" cy="38863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A59E59-25CA-4AB8-AF9F-065091EDF2AD}">
      <dsp:nvSpPr>
        <dsp:cNvPr id="0" name=""/>
        <dsp:cNvSpPr/>
      </dsp:nvSpPr>
      <dsp:spPr>
        <a:xfrm>
          <a:off x="816125" y="1394"/>
          <a:ext cx="7967512" cy="7066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782" tIns="74782" rIns="74782" bIns="7478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GUI</a:t>
          </a:r>
          <a:endParaRPr lang="en-US" sz="2200" kern="1200" dirty="0"/>
        </a:p>
      </dsp:txBody>
      <dsp:txXfrm>
        <a:off x="816125" y="1394"/>
        <a:ext cx="7967512" cy="706602"/>
      </dsp:txXfrm>
    </dsp:sp>
    <dsp:sp modelId="{8AD95ADB-D513-4BFB-A38A-6280FA9CA1C8}">
      <dsp:nvSpPr>
        <dsp:cNvPr id="0" name=""/>
        <dsp:cNvSpPr/>
      </dsp:nvSpPr>
      <dsp:spPr>
        <a:xfrm>
          <a:off x="0" y="884647"/>
          <a:ext cx="8783638" cy="70660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2C7757-C3F8-44C6-A753-F3EF9A22B54E}">
      <dsp:nvSpPr>
        <dsp:cNvPr id="0" name=""/>
        <dsp:cNvSpPr/>
      </dsp:nvSpPr>
      <dsp:spPr>
        <a:xfrm>
          <a:off x="213747" y="1043632"/>
          <a:ext cx="388631" cy="38863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FA2F02-A4C5-4676-83BC-A73D4E856C34}">
      <dsp:nvSpPr>
        <dsp:cNvPr id="0" name=""/>
        <dsp:cNvSpPr/>
      </dsp:nvSpPr>
      <dsp:spPr>
        <a:xfrm>
          <a:off x="816125" y="884647"/>
          <a:ext cx="7967512" cy="7066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782" tIns="74782" rIns="74782" bIns="7478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Machine Learning	</a:t>
          </a:r>
          <a:endParaRPr lang="en-US" sz="2200" kern="1200" dirty="0"/>
        </a:p>
      </dsp:txBody>
      <dsp:txXfrm>
        <a:off x="816125" y="884647"/>
        <a:ext cx="7967512" cy="706602"/>
      </dsp:txXfrm>
    </dsp:sp>
    <dsp:sp modelId="{75BFE927-EAF8-495A-B906-2A823C492E0A}">
      <dsp:nvSpPr>
        <dsp:cNvPr id="0" name=""/>
        <dsp:cNvSpPr/>
      </dsp:nvSpPr>
      <dsp:spPr>
        <a:xfrm>
          <a:off x="0" y="1767900"/>
          <a:ext cx="8783638" cy="70660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7FB047-4E01-45BE-9013-BD1BB84A01A1}">
      <dsp:nvSpPr>
        <dsp:cNvPr id="0" name=""/>
        <dsp:cNvSpPr/>
      </dsp:nvSpPr>
      <dsp:spPr>
        <a:xfrm>
          <a:off x="213747" y="1926885"/>
          <a:ext cx="388631" cy="38863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C92912-AD35-48A9-87DC-E62942F21BA3}">
      <dsp:nvSpPr>
        <dsp:cNvPr id="0" name=""/>
        <dsp:cNvSpPr/>
      </dsp:nvSpPr>
      <dsp:spPr>
        <a:xfrm>
          <a:off x="816125" y="1767900"/>
          <a:ext cx="7967512" cy="7066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782" tIns="74782" rIns="74782" bIns="7478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Control Script</a:t>
          </a:r>
        </a:p>
      </dsp:txBody>
      <dsp:txXfrm>
        <a:off x="816125" y="1767900"/>
        <a:ext cx="7967512" cy="706602"/>
      </dsp:txXfrm>
    </dsp:sp>
    <dsp:sp modelId="{F69F1FFD-D896-4C97-9921-15C78CE9ECFF}">
      <dsp:nvSpPr>
        <dsp:cNvPr id="0" name=""/>
        <dsp:cNvSpPr/>
      </dsp:nvSpPr>
      <dsp:spPr>
        <a:xfrm>
          <a:off x="0" y="2651153"/>
          <a:ext cx="8783638" cy="70660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99B2C6-BCF6-4696-AA51-ED840660D654}">
      <dsp:nvSpPr>
        <dsp:cNvPr id="0" name=""/>
        <dsp:cNvSpPr/>
      </dsp:nvSpPr>
      <dsp:spPr>
        <a:xfrm>
          <a:off x="213747" y="2810138"/>
          <a:ext cx="388631" cy="388631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CF0F91-1415-4594-A5AF-064CC5407971}">
      <dsp:nvSpPr>
        <dsp:cNvPr id="0" name=""/>
        <dsp:cNvSpPr/>
      </dsp:nvSpPr>
      <dsp:spPr>
        <a:xfrm>
          <a:off x="816125" y="2651153"/>
          <a:ext cx="7967512" cy="7066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782" tIns="74782" rIns="74782" bIns="7478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Kubernetes Cluster</a:t>
          </a:r>
        </a:p>
      </dsp:txBody>
      <dsp:txXfrm>
        <a:off x="816125" y="2651153"/>
        <a:ext cx="7967512" cy="7066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7009ED-6E12-A74C-B03E-DED1043E544A}">
      <dsp:nvSpPr>
        <dsp:cNvPr id="0" name=""/>
        <dsp:cNvSpPr/>
      </dsp:nvSpPr>
      <dsp:spPr>
        <a:xfrm>
          <a:off x="0" y="286090"/>
          <a:ext cx="5544616" cy="186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0324" tIns="333248" rIns="430324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Request rate (per minute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Request size (in mb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Response time (in seconds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Utilization of resources (CPU &amp; RAM Usage in percent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Unused resources</a:t>
          </a:r>
        </a:p>
      </dsp:txBody>
      <dsp:txXfrm>
        <a:off x="0" y="286090"/>
        <a:ext cx="5544616" cy="1864800"/>
      </dsp:txXfrm>
    </dsp:sp>
    <dsp:sp modelId="{B9A068BC-274A-1E41-A93D-4AC56D3DA97A}">
      <dsp:nvSpPr>
        <dsp:cNvPr id="0" name=""/>
        <dsp:cNvSpPr/>
      </dsp:nvSpPr>
      <dsp:spPr>
        <a:xfrm>
          <a:off x="277230" y="49930"/>
          <a:ext cx="3881231" cy="4723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6701" tIns="0" rIns="146701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Features [6]: </a:t>
          </a:r>
          <a:endParaRPr lang="en-US" sz="1600" kern="1200" dirty="0"/>
        </a:p>
      </dsp:txBody>
      <dsp:txXfrm>
        <a:off x="300287" y="72987"/>
        <a:ext cx="3835117" cy="426206"/>
      </dsp:txXfrm>
    </dsp:sp>
    <dsp:sp modelId="{C9ED8839-4060-0948-ADC1-34005C0A8A8E}">
      <dsp:nvSpPr>
        <dsp:cNvPr id="0" name=""/>
        <dsp:cNvSpPr/>
      </dsp:nvSpPr>
      <dsp:spPr>
        <a:xfrm>
          <a:off x="0" y="2473450"/>
          <a:ext cx="5544616" cy="90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0324" tIns="333248" rIns="430324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/>
            <a:t>Predictive performance model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 err="1"/>
            <a:t>Scaling</a:t>
          </a:r>
          <a:r>
            <a:rPr lang="de-DE" sz="1600" kern="1200" dirty="0"/>
            <a:t> </a:t>
          </a:r>
          <a:r>
            <a:rPr lang="de-DE" sz="1600" kern="1200" dirty="0" err="1"/>
            <a:t>strategy</a:t>
          </a:r>
          <a:r>
            <a:rPr lang="de-DE" sz="1600" kern="1200" dirty="0"/>
            <a:t>: </a:t>
          </a:r>
          <a:r>
            <a:rPr lang="de-DE" sz="1600" kern="1200" dirty="0" err="1"/>
            <a:t>vertical</a:t>
          </a:r>
          <a:r>
            <a:rPr lang="de-DE" sz="1600" kern="1200" dirty="0"/>
            <a:t> </a:t>
          </a:r>
          <a:r>
            <a:rPr lang="de-DE" sz="1600" kern="1200" dirty="0" err="1"/>
            <a:t>or</a:t>
          </a:r>
          <a:r>
            <a:rPr lang="de-DE" sz="1600" kern="1200" dirty="0"/>
            <a:t>/</a:t>
          </a:r>
          <a:r>
            <a:rPr lang="de-DE" sz="1600" kern="1200" dirty="0" err="1"/>
            <a:t>and</a:t>
          </a:r>
          <a:r>
            <a:rPr lang="de-DE" sz="1600" kern="1200" dirty="0"/>
            <a:t> horizontal</a:t>
          </a:r>
          <a:endParaRPr lang="en-US" sz="1600" kern="1200" dirty="0"/>
        </a:p>
      </dsp:txBody>
      <dsp:txXfrm>
        <a:off x="0" y="2473450"/>
        <a:ext cx="5544616" cy="907200"/>
      </dsp:txXfrm>
    </dsp:sp>
    <dsp:sp modelId="{132F83A4-CC0B-AF47-8ADE-9B344EB84EC2}">
      <dsp:nvSpPr>
        <dsp:cNvPr id="0" name=""/>
        <dsp:cNvSpPr/>
      </dsp:nvSpPr>
      <dsp:spPr>
        <a:xfrm>
          <a:off x="277230" y="2237290"/>
          <a:ext cx="3881231" cy="4723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6701" tIns="0" rIns="146701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/>
            <a:t>Output:</a:t>
          </a:r>
          <a:endParaRPr lang="en-US" sz="1600" kern="1200"/>
        </a:p>
      </dsp:txBody>
      <dsp:txXfrm>
        <a:off x="300287" y="2260347"/>
        <a:ext cx="3835117" cy="4262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>
            <a:extLst>
              <a:ext uri="{FF2B5EF4-FFF2-40B4-BE49-F238E27FC236}">
                <a16:creationId xmlns:a16="http://schemas.microsoft.com/office/drawing/2014/main" id="{BF52CA6D-F34F-4BCE-AC2C-27AD29D41610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90500" y="387350"/>
            <a:ext cx="5403850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E1C23756-E966-4DDF-9706-E3F82D489E62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0500" y="8567738"/>
            <a:ext cx="13303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  <a:cs typeface="+mn-cs"/>
              </a:defRPr>
            </a:lvl1pPr>
          </a:lstStyle>
          <a:p>
            <a:pPr>
              <a:defRPr/>
            </a:pPr>
            <a:fld id="{A99F611C-575C-4834-9C2A-51245EF7EACB}" type="datetime4">
              <a:rPr lang="de-DE"/>
              <a:pPr>
                <a:defRPr/>
              </a:pPr>
              <a:t>6. Januar 2021</a:t>
            </a:fld>
            <a:endParaRPr lang="de-DE"/>
          </a:p>
        </p:txBody>
      </p:sp>
      <p:sp>
        <p:nvSpPr>
          <p:cNvPr id="50180" name="Rectangle 4">
            <a:extLst>
              <a:ext uri="{FF2B5EF4-FFF2-40B4-BE49-F238E27FC236}">
                <a16:creationId xmlns:a16="http://schemas.microsoft.com/office/drawing/2014/main" id="{60A8F69D-799E-4809-A3CB-A83076B2CFFA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20825" y="8567738"/>
            <a:ext cx="44640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50181" name="Rectangle 5">
            <a:extLst>
              <a:ext uri="{FF2B5EF4-FFF2-40B4-BE49-F238E27FC236}">
                <a16:creationId xmlns:a16="http://schemas.microsoft.com/office/drawing/2014/main" id="{01932BEB-430A-42A6-8F70-9A312E292F67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99163" y="8567738"/>
            <a:ext cx="6699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anose="00000400000000000000" pitchFamily="2" charset="0"/>
              </a:defRPr>
            </a:lvl1pPr>
          </a:lstStyle>
          <a:p>
            <a:r>
              <a:rPr lang="de-DE" altLang="de-DE"/>
              <a:t>|  </a:t>
            </a:r>
            <a:fld id="{FD9BFB44-02B7-4F5A-9510-D6A7EC1ADE92}" type="slidenum">
              <a:rPr lang="de-DE" altLang="de-DE"/>
              <a:pPr/>
              <a:t>‹Nr.›</a:t>
            </a:fld>
            <a:endParaRPr lang="de-DE" altLang="de-DE"/>
          </a:p>
        </p:txBody>
      </p:sp>
      <p:pic>
        <p:nvPicPr>
          <p:cNvPr id="5126" name="Picture 6" descr="tud_logo">
            <a:extLst>
              <a:ext uri="{FF2B5EF4-FFF2-40B4-BE49-F238E27FC236}">
                <a16:creationId xmlns:a16="http://schemas.microsoft.com/office/drawing/2014/main" id="{590072C5-8688-49DE-A490-18B1E548BE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400" y="360363"/>
            <a:ext cx="928688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7" name="Rectangle 7">
            <a:extLst>
              <a:ext uri="{FF2B5EF4-FFF2-40B4-BE49-F238E27FC236}">
                <a16:creationId xmlns:a16="http://schemas.microsoft.com/office/drawing/2014/main" id="{9318DC75-C84B-4C0F-B4D9-05403E87FD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00" y="179388"/>
            <a:ext cx="6478588" cy="144462"/>
          </a:xfrm>
          <a:prstGeom prst="rect">
            <a:avLst/>
          </a:prstGeom>
          <a:solidFill>
            <a:srgbClr val="B5B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sp>
        <p:nvSpPr>
          <p:cNvPr id="5128" name="Line 8">
            <a:extLst>
              <a:ext uri="{FF2B5EF4-FFF2-40B4-BE49-F238E27FC236}">
                <a16:creationId xmlns:a16="http://schemas.microsoft.com/office/drawing/2014/main" id="{C37880C4-2BBD-4E30-B382-A047EC7AC2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500" y="360363"/>
            <a:ext cx="6478588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129" name="Line 9">
            <a:extLst>
              <a:ext uri="{FF2B5EF4-FFF2-40B4-BE49-F238E27FC236}">
                <a16:creationId xmlns:a16="http://schemas.microsoft.com/office/drawing/2014/main" id="{2599EBF7-9DEC-4FEF-B15E-9E64BA718BDE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500" y="8496300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130" name="Line 10">
            <a:extLst>
              <a:ext uri="{FF2B5EF4-FFF2-40B4-BE49-F238E27FC236}">
                <a16:creationId xmlns:a16="http://schemas.microsoft.com/office/drawing/2014/main" id="{41EA1A19-A695-42C7-B18B-A764FACF30DD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913" y="777875"/>
            <a:ext cx="6478587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tud_logo">
            <a:extLst>
              <a:ext uri="{FF2B5EF4-FFF2-40B4-BE49-F238E27FC236}">
                <a16:creationId xmlns:a16="http://schemas.microsoft.com/office/drawing/2014/main" id="{234DAB62-2175-4858-AD67-FD349A96EC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2463" y="360363"/>
            <a:ext cx="935037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>
            <a:extLst>
              <a:ext uri="{FF2B5EF4-FFF2-40B4-BE49-F238E27FC236}">
                <a16:creationId xmlns:a16="http://schemas.microsoft.com/office/drawing/2014/main" id="{16EFB971-CED3-415E-A4EE-9417C55F2842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188913" y="8685213"/>
            <a:ext cx="1619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  <a:cs typeface="+mn-cs"/>
              </a:defRPr>
            </a:lvl1pPr>
          </a:lstStyle>
          <a:p>
            <a:pPr>
              <a:defRPr/>
            </a:pPr>
            <a:fld id="{457AE8EF-E871-46D0-AD98-1F6D460EB5F2}" type="datetime4">
              <a:rPr lang="de-DE"/>
              <a:pPr>
                <a:defRPr/>
              </a:pPr>
              <a:t>6. Januar 2021</a:t>
            </a:fld>
            <a:endParaRPr lang="de-DE"/>
          </a:p>
        </p:txBody>
      </p:sp>
      <p:sp>
        <p:nvSpPr>
          <p:cNvPr id="4100" name="Rectangle 4">
            <a:extLst>
              <a:ext uri="{FF2B5EF4-FFF2-40B4-BE49-F238E27FC236}">
                <a16:creationId xmlns:a16="http://schemas.microsoft.com/office/drawing/2014/main" id="{3551BEFF-595F-4814-9A9F-89A6D460C89E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88975" y="923925"/>
            <a:ext cx="5461000" cy="30718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76D595CD-BAFD-49BF-861C-6D329C9BFF3A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90500" y="4284663"/>
            <a:ext cx="6477000" cy="428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078" name="Rectangle 6">
            <a:extLst>
              <a:ext uri="{FF2B5EF4-FFF2-40B4-BE49-F238E27FC236}">
                <a16:creationId xmlns:a16="http://schemas.microsoft.com/office/drawing/2014/main" id="{A7D9B6B0-3B95-4D8E-9A94-64E186FA48CF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808163" y="8685213"/>
            <a:ext cx="41052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3079" name="Rectangle 7">
            <a:extLst>
              <a:ext uri="{FF2B5EF4-FFF2-40B4-BE49-F238E27FC236}">
                <a16:creationId xmlns:a16="http://schemas.microsoft.com/office/drawing/2014/main" id="{15CA2C80-7CB2-4CFA-B183-9B23BFCE576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3438" y="8685213"/>
            <a:ext cx="942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anose="00000400000000000000" pitchFamily="2" charset="0"/>
              </a:defRPr>
            </a:lvl1pPr>
          </a:lstStyle>
          <a:p>
            <a:r>
              <a:rPr lang="de-DE" altLang="de-DE"/>
              <a:t>|  </a:t>
            </a:r>
            <a:fld id="{E526A819-9FA5-480B-AA80-B0EE2CE4290D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4104" name="Rectangle 8">
            <a:extLst>
              <a:ext uri="{FF2B5EF4-FFF2-40B4-BE49-F238E27FC236}">
                <a16:creationId xmlns:a16="http://schemas.microsoft.com/office/drawing/2014/main" id="{68585946-9504-4C79-A243-8C17C24576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00" y="387350"/>
            <a:ext cx="540385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ts val="1300"/>
              </a:lnSpc>
              <a:defRPr/>
            </a:pPr>
            <a:endParaRPr lang="de-DE" altLang="de-DE" sz="1000" b="1">
              <a:latin typeface="Stafford" pitchFamily="2" charset="0"/>
            </a:endParaRPr>
          </a:p>
        </p:txBody>
      </p:sp>
      <p:sp>
        <p:nvSpPr>
          <p:cNvPr id="4105" name="Rectangle 9">
            <a:extLst>
              <a:ext uri="{FF2B5EF4-FFF2-40B4-BE49-F238E27FC236}">
                <a16:creationId xmlns:a16="http://schemas.microsoft.com/office/drawing/2014/main" id="{FECE2218-2F32-4E01-B171-7D5DFCCA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00" y="179388"/>
            <a:ext cx="6478588" cy="144462"/>
          </a:xfrm>
          <a:prstGeom prst="rect">
            <a:avLst/>
          </a:prstGeom>
          <a:solidFill>
            <a:srgbClr val="B5B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sp>
        <p:nvSpPr>
          <p:cNvPr id="4106" name="Line 10">
            <a:extLst>
              <a:ext uri="{FF2B5EF4-FFF2-40B4-BE49-F238E27FC236}">
                <a16:creationId xmlns:a16="http://schemas.microsoft.com/office/drawing/2014/main" id="{FA59C84D-5D3E-4007-97FD-908FEC98F034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500" y="360363"/>
            <a:ext cx="6478588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107" name="Line 11">
            <a:extLst>
              <a:ext uri="{FF2B5EF4-FFF2-40B4-BE49-F238E27FC236}">
                <a16:creationId xmlns:a16="http://schemas.microsoft.com/office/drawing/2014/main" id="{74D129A1-E2D2-4949-B6C9-C1467FEDAB5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500" y="781050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108" name="Line 12">
            <a:extLst>
              <a:ext uri="{FF2B5EF4-FFF2-40B4-BE49-F238E27FC236}">
                <a16:creationId xmlns:a16="http://schemas.microsoft.com/office/drawing/2014/main" id="{BE7D3108-39A9-4436-AA29-502561181A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500" y="8685213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109" name="Line 14">
            <a:extLst>
              <a:ext uri="{FF2B5EF4-FFF2-40B4-BE49-F238E27FC236}">
                <a16:creationId xmlns:a16="http://schemas.microsoft.com/office/drawing/2014/main" id="{479DDD7D-9D8A-4C13-9DEE-A5501FE9E652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913" y="4103688"/>
            <a:ext cx="6478587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997736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0883495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1702946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6654399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estion:</a:t>
            </a:r>
          </a:p>
          <a:p>
            <a:r>
              <a:rPr lang="en-US" dirty="0"/>
              <a:t>How long did they learn? Only 360 minutes?</a:t>
            </a:r>
          </a:p>
          <a:p>
            <a:r>
              <a:rPr lang="en-US" dirty="0"/>
              <a:t>Would Q-learning have made equal or better choices when it had more time to learn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4443543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7086519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estion:</a:t>
            </a:r>
          </a:p>
          <a:p>
            <a:r>
              <a:rPr lang="en-US" dirty="0"/>
              <a:t>What was the CPU usage? Did it reach 100% when not scaled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0996024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2584842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/>
              <a:t>|  </a:t>
            </a:r>
            <a:fld id="{E526A819-9FA5-480B-AA80-B0EE2CE4290D}" type="slidenum">
              <a:rPr lang="de-DE" altLang="de-DE" smtClean="0"/>
              <a:pPr/>
              <a:t>2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516029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/>
              <a:t>|  </a:t>
            </a:r>
            <a:fld id="{E526A819-9FA5-480B-AA80-B0EE2CE4290D}" type="slidenum">
              <a:rPr lang="de-DE" altLang="de-DE" smtClean="0"/>
              <a:pPr/>
              <a:t>2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279812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/>
              <a:t>|  </a:t>
            </a:r>
            <a:fld id="{E526A819-9FA5-480B-AA80-B0EE2CE4290D}" type="slidenum">
              <a:rPr lang="de-DE" altLang="de-DE" smtClean="0"/>
              <a:pPr/>
              <a:t>2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99015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9764019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/>
              <a:t>|  </a:t>
            </a:r>
            <a:fld id="{E526A819-9FA5-480B-AA80-B0EE2CE4290D}" type="slidenum">
              <a:rPr lang="de-DE" altLang="de-DE" smtClean="0"/>
              <a:pPr/>
              <a:t>2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208132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/>
              <a:t>|  </a:t>
            </a:r>
            <a:fld id="{E526A819-9FA5-480B-AA80-B0EE2CE4290D}" type="slidenum">
              <a:rPr lang="de-DE" altLang="de-DE" smtClean="0"/>
              <a:pPr/>
              <a:t>2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81473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6112347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croservices:</a:t>
            </a:r>
          </a:p>
          <a:p>
            <a:pPr marL="171450" indent="-171450">
              <a:buFontTx/>
              <a:buChar char="-"/>
            </a:pPr>
            <a:r>
              <a:rPr lang="en-US" dirty="0"/>
              <a:t>Applications get </a:t>
            </a:r>
            <a:r>
              <a:rPr lang="en-US" dirty="0" err="1"/>
              <a:t>splittet</a:t>
            </a:r>
            <a:r>
              <a:rPr lang="en-US" dirty="0"/>
              <a:t> into </a:t>
            </a:r>
            <a:r>
              <a:rPr lang="en-US" dirty="0" err="1"/>
              <a:t>independet</a:t>
            </a:r>
            <a:r>
              <a:rPr lang="en-US" dirty="0"/>
              <a:t> parts which can communicate over APIs</a:t>
            </a:r>
          </a:p>
          <a:p>
            <a:pPr marL="171450" indent="-171450">
              <a:buFontTx/>
              <a:buChar char="-"/>
            </a:pPr>
            <a:r>
              <a:rPr lang="en-US" dirty="0"/>
              <a:t>Hosted in the cloud</a:t>
            </a:r>
          </a:p>
          <a:p>
            <a:pPr marL="171450" indent="-171450">
              <a:buFontTx/>
              <a:buChar char="-"/>
            </a:pPr>
            <a:r>
              <a:rPr lang="en-US" dirty="0"/>
              <a:t>Mostly not maintained by the developer therefore are </a:t>
            </a:r>
            <a:r>
              <a:rPr lang="en-US" dirty="0" err="1"/>
              <a:t>resswources</a:t>
            </a:r>
            <a:r>
              <a:rPr lang="en-US" dirty="0"/>
              <a:t> cost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9228351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5929526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3539803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599737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018901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6. Jan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952739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8AC98F4B-0F8B-4A71-988D-C71390328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388" y="284163"/>
            <a:ext cx="8786812" cy="15668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de-DE" altLang="de-DE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73C98749-4023-42AD-AE3A-55643258CEF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9388" y="155575"/>
            <a:ext cx="8786812" cy="1095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>
              <a:cs typeface="Tahoma" pitchFamily="34" charset="0"/>
            </a:endParaRPr>
          </a:p>
        </p:txBody>
      </p:sp>
      <p:sp>
        <p:nvSpPr>
          <p:cNvPr id="7" name="Line 14">
            <a:extLst>
              <a:ext uri="{FF2B5EF4-FFF2-40B4-BE49-F238E27FC236}">
                <a16:creationId xmlns:a16="http://schemas.microsoft.com/office/drawing/2014/main" id="{11AA16B0-9512-4673-88DC-53A41D5D20C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79388" y="1851025"/>
            <a:ext cx="878681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" name="Line 15">
            <a:extLst>
              <a:ext uri="{FF2B5EF4-FFF2-40B4-BE49-F238E27FC236}">
                <a16:creationId xmlns:a16="http://schemas.microsoft.com/office/drawing/2014/main" id="{A0ED927A-FA80-4894-87F9-6E781C5FD02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79388" y="4775200"/>
            <a:ext cx="878681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Line 14">
            <a:extLst>
              <a:ext uri="{FF2B5EF4-FFF2-40B4-BE49-F238E27FC236}">
                <a16:creationId xmlns:a16="http://schemas.microsoft.com/office/drawing/2014/main" id="{490DDCD5-9538-4201-817E-E5A1A39DA8F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79388" y="285750"/>
            <a:ext cx="8786812" cy="0"/>
          </a:xfrm>
          <a:prstGeom prst="line">
            <a:avLst/>
          </a:prstGeom>
          <a:noFill/>
          <a:ln w="1524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9E799F22-779D-4E5F-85E6-D168D6F0E2FB}"/>
              </a:ext>
            </a:extLst>
          </p:cNvPr>
          <p:cNvSpPr txBox="1">
            <a:spLocks/>
          </p:cNvSpPr>
          <p:nvPr userDrawn="1"/>
        </p:nvSpPr>
        <p:spPr>
          <a:xfrm>
            <a:off x="84138" y="4803775"/>
            <a:ext cx="7273925" cy="1730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3D1F35-53FB-4258-8639-47BEE674FCE7}" type="datetime1">
              <a:rPr lang="de-DE" altLang="de-DE" sz="1000" smtClean="0">
                <a:cs typeface="Tahoma" panose="020B060403050404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6.01.2021</a:t>
            </a:fld>
            <a:r>
              <a:rPr lang="de-DE" altLang="de-DE" sz="1000">
                <a:cs typeface="Tahoma" panose="020B0604030504040204" pitchFamily="34" charset="0"/>
              </a:rPr>
              <a:t>  |  Fachbereich Informatik  | </a:t>
            </a:r>
            <a:r>
              <a:rPr lang="de-DE"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Parallel </a:t>
            </a:r>
            <a:r>
              <a:rPr lang="de-DE" sz="1000" kern="120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Programming</a:t>
            </a:r>
            <a:r>
              <a:rPr lang="de-DE"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 </a:t>
            </a:r>
            <a:r>
              <a:rPr lang="de-DE" altLang="de-DE" sz="1000">
                <a:cs typeface="Tahoma" panose="020B0604030504040204" pitchFamily="34" charset="0"/>
              </a:rPr>
              <a:t>| </a:t>
            </a:r>
            <a:r>
              <a:rPr lang="de-DE" sz="1000" b="0" i="0" u="none" strike="noStrike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gelina Horn </a:t>
            </a:r>
            <a:r>
              <a:rPr lang="de-DE" altLang="de-DE" sz="1000">
                <a:cs typeface="Tahoma" panose="020B0604030504040204" pitchFamily="34" charset="0"/>
              </a:rPr>
              <a:t>|  </a:t>
            </a:r>
            <a:fld id="{9F51A46B-51C9-420F-A396-44C23711C593}" type="slidenum">
              <a:rPr lang="de-DE" altLang="de-DE" sz="1000" smtClean="0">
                <a:cs typeface="Tahoma" panose="020B060403050404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altLang="de-DE" sz="1000">
              <a:cs typeface="Tahoma" panose="020B0604030504040204" pitchFamily="34" charset="0"/>
            </a:endParaRPr>
          </a:p>
          <a:p>
            <a:pPr eaLnBrk="1" hangingPunct="1"/>
            <a:endParaRPr lang="de-DE" altLang="de-DE" sz="1000">
              <a:cs typeface="Tahoma" panose="020B0604030504040204" pitchFamily="34" charset="0"/>
            </a:endParaRPr>
          </a:p>
        </p:txBody>
      </p:sp>
      <p:pic>
        <p:nvPicPr>
          <p:cNvPr id="11" name="Picture 9" descr="tud_logo">
            <a:extLst>
              <a:ext uri="{FF2B5EF4-FFF2-40B4-BE49-F238E27FC236}">
                <a16:creationId xmlns:a16="http://schemas.microsoft.com/office/drawing/2014/main" id="{41F4CD59-5D99-41B4-B850-54F06089FB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53"/>
          <a:stretch>
            <a:fillRect/>
          </a:stretch>
        </p:blipFill>
        <p:spPr bwMode="auto">
          <a:xfrm>
            <a:off x="7653338" y="401638"/>
            <a:ext cx="1427162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51520" y="1095623"/>
            <a:ext cx="6840760" cy="708422"/>
          </a:xfrm>
        </p:spPr>
        <p:txBody>
          <a:bodyPr t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270898" y="375294"/>
            <a:ext cx="6821383" cy="628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24C695E-E5CA-E248-A3C7-F002993855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9362" y="4787193"/>
            <a:ext cx="1076838" cy="356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487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1500" y="366712"/>
            <a:ext cx="6821383" cy="62865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1"/>
          </p:nvPr>
        </p:nvSpPr>
        <p:spPr>
          <a:xfrm>
            <a:off x="180490" y="1185474"/>
            <a:ext cx="8783998" cy="3359957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044450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513" y="3305177"/>
            <a:ext cx="8784975" cy="1021557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9513" y="2180035"/>
            <a:ext cx="8784975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988014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1122" y="366712"/>
            <a:ext cx="6821383" cy="6286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81121" y="1194198"/>
            <a:ext cx="4357220" cy="3413536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4663618" y="1194198"/>
            <a:ext cx="4300870" cy="3413536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056262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514" y="366712"/>
            <a:ext cx="6808162" cy="6286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4" y="1194197"/>
            <a:ext cx="2860710" cy="3486072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sz="half" idx="10"/>
          </p:nvPr>
        </p:nvSpPr>
        <p:spPr>
          <a:xfrm>
            <a:off x="3131840" y="1194197"/>
            <a:ext cx="2860710" cy="3486072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sz="half" idx="12"/>
          </p:nvPr>
        </p:nvSpPr>
        <p:spPr>
          <a:xfrm>
            <a:off x="6084168" y="1194197"/>
            <a:ext cx="2880320" cy="3486072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53546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514" y="366712"/>
            <a:ext cx="6808162" cy="6286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24606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8447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19872" y="1184707"/>
            <a:ext cx="5544616" cy="34305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512" y="1184707"/>
            <a:ext cx="3147109" cy="343058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179512" y="366712"/>
            <a:ext cx="6840000" cy="6286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83001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185555"/>
            <a:ext cx="5486400" cy="233305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749511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3821C0-3146-F74C-BC31-D69BE36FCF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26377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3821C0-3146-F74C-BC31-D69BE36FC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220CB8A-E537-614F-86B8-668F22F5D710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de-DE" sz="2400" b="1" i="0" u="none" cap="none" baseline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1026" name="Rectangle 13">
            <a:extLst>
              <a:ext uri="{FF2B5EF4-FFF2-40B4-BE49-F238E27FC236}">
                <a16:creationId xmlns:a16="http://schemas.microsoft.com/office/drawing/2014/main" id="{B2DEF7C5-B626-40CA-B486-B13B748773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388" y="565150"/>
            <a:ext cx="8713787" cy="811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>
              <a:cs typeface="Tahoma" pitchFamily="34" charset="0"/>
            </a:endParaRPr>
          </a:p>
        </p:txBody>
      </p:sp>
      <p:sp>
        <p:nvSpPr>
          <p:cNvPr id="1027" name="Rectangle 2">
            <a:extLst>
              <a:ext uri="{FF2B5EF4-FFF2-40B4-BE49-F238E27FC236}">
                <a16:creationId xmlns:a16="http://schemas.microsoft.com/office/drawing/2014/main" id="{96E5FFDE-73FA-426A-BD9A-6BF3A48A7F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77800" y="385763"/>
            <a:ext cx="7131050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33CAAF0B-E9E2-4AE6-BCFB-F078FFB381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203325"/>
            <a:ext cx="8786812" cy="342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1029" name="Rectangle 8">
            <a:extLst>
              <a:ext uri="{FF2B5EF4-FFF2-40B4-BE49-F238E27FC236}">
                <a16:creationId xmlns:a16="http://schemas.microsoft.com/office/drawing/2014/main" id="{C39D8E94-3E00-4FF9-8B43-C582B880E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388" y="166688"/>
            <a:ext cx="8786812" cy="107950"/>
          </a:xfrm>
          <a:prstGeom prst="rect">
            <a:avLst/>
          </a:prstGeom>
          <a:solidFill>
            <a:schemeClr val="accent1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>
              <a:cs typeface="Tahoma" pitchFamily="34" charset="0"/>
            </a:endParaRPr>
          </a:p>
        </p:txBody>
      </p:sp>
      <p:sp>
        <p:nvSpPr>
          <p:cNvPr id="1030" name="Line 14">
            <a:extLst>
              <a:ext uri="{FF2B5EF4-FFF2-40B4-BE49-F238E27FC236}">
                <a16:creationId xmlns:a16="http://schemas.microsoft.com/office/drawing/2014/main" id="{3B5E8B18-6027-4A8B-8190-561D29818DE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9388" y="1106488"/>
            <a:ext cx="878681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0BC9D0E-53EB-4E84-B28B-66E90A537ABF}"/>
              </a:ext>
            </a:extLst>
          </p:cNvPr>
          <p:cNvSpPr txBox="1">
            <a:spLocks/>
          </p:cNvSpPr>
          <p:nvPr userDrawn="1"/>
        </p:nvSpPr>
        <p:spPr>
          <a:xfrm>
            <a:off x="84138" y="4803775"/>
            <a:ext cx="7273925" cy="1730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9CF508D7-ACD9-4985-BAF6-B39BC9A4CAF2}" type="datetime1">
              <a:rPr lang="de-DE" altLang="de-DE" sz="1000">
                <a:cs typeface="Tahoma" panose="020B0604030504040204" pitchFamily="34" charset="0"/>
              </a:rPr>
              <a:pPr eaLnBrk="1" hangingPunct="1"/>
              <a:t>06.01.2021</a:t>
            </a:fld>
            <a:r>
              <a:rPr lang="de-DE" altLang="de-DE" sz="1000">
                <a:cs typeface="Tahoma" panose="020B0604030504040204" pitchFamily="34" charset="0"/>
              </a:rPr>
              <a:t>  |  Fachbereich Informatik  | </a:t>
            </a:r>
            <a:r>
              <a:rPr lang="de-DE"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Parallel </a:t>
            </a:r>
            <a:r>
              <a:rPr lang="en-US" sz="1000" kern="1200" noProof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Programming</a:t>
            </a:r>
            <a:r>
              <a:rPr lang="de-DE"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 </a:t>
            </a:r>
            <a:r>
              <a:rPr lang="de-DE" altLang="de-DE" sz="1000">
                <a:cs typeface="Tahoma" panose="020B0604030504040204" pitchFamily="34" charset="0"/>
              </a:rPr>
              <a:t>| </a:t>
            </a:r>
            <a:r>
              <a:rPr lang="de-DE" altLang="de-DE" sz="1000" b="0" i="0" u="none" strike="noStrike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gelina Horn </a:t>
            </a:r>
            <a:r>
              <a:rPr lang="de-DE" altLang="de-DE" sz="1000">
                <a:cs typeface="Tahoma" panose="020B0604030504040204" pitchFamily="34" charset="0"/>
              </a:rPr>
              <a:t>|  </a:t>
            </a:r>
            <a:fld id="{44F2A568-A80E-46CC-9726-A89A59CECE16}" type="slidenum">
              <a:rPr lang="de-DE" altLang="de-DE" sz="1000">
                <a:cs typeface="Tahoma" panose="020B0604030504040204" pitchFamily="34" charset="0"/>
              </a:rPr>
              <a:pPr eaLnBrk="1" hangingPunct="1"/>
              <a:t>‹Nr.›</a:t>
            </a:fld>
            <a:endParaRPr lang="de-DE" altLang="de-DE" sz="1000">
              <a:cs typeface="Tahoma" panose="020B0604030504040204" pitchFamily="34" charset="0"/>
            </a:endParaRPr>
          </a:p>
          <a:p>
            <a:pPr eaLnBrk="1" hangingPunct="1"/>
            <a:endParaRPr lang="de-DE" altLang="de-DE" sz="1000">
              <a:cs typeface="Tahoma" panose="020B0604030504040204" pitchFamily="34" charset="0"/>
            </a:endParaRPr>
          </a:p>
        </p:txBody>
      </p:sp>
      <p:sp>
        <p:nvSpPr>
          <p:cNvPr id="2" name="Line 14">
            <a:extLst>
              <a:ext uri="{FF2B5EF4-FFF2-40B4-BE49-F238E27FC236}">
                <a16:creationId xmlns:a16="http://schemas.microsoft.com/office/drawing/2014/main" id="{0C417082-CF6F-4F56-B626-BCDDC5D9005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79388" y="296863"/>
            <a:ext cx="8786812" cy="0"/>
          </a:xfrm>
          <a:prstGeom prst="line">
            <a:avLst/>
          </a:prstGeom>
          <a:noFill/>
          <a:ln w="1524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34" name="Line 15">
            <a:extLst>
              <a:ext uri="{FF2B5EF4-FFF2-40B4-BE49-F238E27FC236}">
                <a16:creationId xmlns:a16="http://schemas.microsoft.com/office/drawing/2014/main" id="{8C8CCC45-74D4-48F2-B96B-E4968458CF2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79388" y="4775200"/>
            <a:ext cx="878681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035" name="Picture 9" descr="tud_logo">
            <a:extLst>
              <a:ext uri="{FF2B5EF4-FFF2-40B4-BE49-F238E27FC236}">
                <a16:creationId xmlns:a16="http://schemas.microsoft.com/office/drawing/2014/main" id="{CFC8C3AF-3B94-45CD-8F19-71DA524AB5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53"/>
          <a:stretch>
            <a:fillRect/>
          </a:stretch>
        </p:blipFill>
        <p:spPr bwMode="auto">
          <a:xfrm>
            <a:off x="7653338" y="401638"/>
            <a:ext cx="1427162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2E897B2-E42F-4EE3-9AE7-C90B70351125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9362" y="4787193"/>
            <a:ext cx="1076838" cy="35630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n-lt"/>
          <a:ea typeface="+mj-ea"/>
          <a:cs typeface="Tahom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0" fontAlgn="base" hangingPunct="0">
        <a:lnSpc>
          <a:spcPct val="130000"/>
        </a:lnSpc>
        <a:spcBef>
          <a:spcPts val="200"/>
        </a:spcBef>
        <a:spcAft>
          <a:spcPts val="225"/>
        </a:spcAft>
        <a:buFont typeface="Wingdings" panose="05000000000000000000" pitchFamily="2" charset="2"/>
        <a:defRPr sz="2000">
          <a:solidFill>
            <a:schemeClr val="tx1"/>
          </a:solidFill>
          <a:latin typeface="+mn-lt"/>
          <a:ea typeface="+mn-ea"/>
          <a:cs typeface="Tahoma" pitchFamily="34" charset="0"/>
        </a:defRPr>
      </a:lvl1pPr>
      <a:lvl2pPr marL="179388" indent="-177800" algn="l" rtl="0" eaLnBrk="0" fontAlgn="base" hangingPunct="0">
        <a:lnSpc>
          <a:spcPct val="130000"/>
        </a:lnSpc>
        <a:spcBef>
          <a:spcPts val="200"/>
        </a:spcBef>
        <a:spcAft>
          <a:spcPts val="225"/>
        </a:spcAft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  <a:cs typeface="Tahoma" pitchFamily="34" charset="0"/>
        </a:defRPr>
      </a:lvl2pPr>
      <a:lvl3pPr marL="538163" indent="-187325" algn="l" rtl="0" eaLnBrk="0" fontAlgn="base" hangingPunct="0">
        <a:lnSpc>
          <a:spcPct val="130000"/>
        </a:lnSpc>
        <a:spcBef>
          <a:spcPts val="200"/>
        </a:spcBef>
        <a:spcAft>
          <a:spcPts val="225"/>
        </a:spcAft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cs typeface="Tahoma" pitchFamily="34" charset="0"/>
        </a:defRPr>
      </a:lvl3pPr>
      <a:lvl4pPr marL="717550" indent="-173038" algn="l" rtl="0" eaLnBrk="0" fontAlgn="base" hangingPunct="0">
        <a:lnSpc>
          <a:spcPct val="130000"/>
        </a:lnSpc>
        <a:spcBef>
          <a:spcPts val="200"/>
        </a:spcBef>
        <a:spcAft>
          <a:spcPts val="225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4pPr>
      <a:lvl5pPr marL="908050" indent="-188913" algn="l" rtl="0" eaLnBrk="0" fontAlgn="base" hangingPunct="0">
        <a:lnSpc>
          <a:spcPct val="130000"/>
        </a:lnSpc>
        <a:spcBef>
          <a:spcPts val="200"/>
        </a:spcBef>
        <a:spcAft>
          <a:spcPts val="225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16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9" Type="http://schemas.openxmlformats.org/officeDocument/2006/relationships/image" Target="../media/image13.sv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31.xml"/><Relationship Id="rId18" Type="http://schemas.openxmlformats.org/officeDocument/2006/relationships/tags" Target="../tags/tag136.xml"/><Relationship Id="rId26" Type="http://schemas.openxmlformats.org/officeDocument/2006/relationships/notesSlide" Target="../notesSlides/notesSlide10.xml"/><Relationship Id="rId3" Type="http://schemas.openxmlformats.org/officeDocument/2006/relationships/tags" Target="../tags/tag121.xml"/><Relationship Id="rId21" Type="http://schemas.openxmlformats.org/officeDocument/2006/relationships/tags" Target="../tags/tag139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tags" Target="../tags/tag138.xml"/><Relationship Id="rId29" Type="http://schemas.openxmlformats.org/officeDocument/2006/relationships/slide" Target="slide15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24" Type="http://schemas.openxmlformats.org/officeDocument/2006/relationships/tags" Target="../tags/tag142.xml"/><Relationship Id="rId32" Type="http://schemas.openxmlformats.org/officeDocument/2006/relationships/slide" Target="slide6.xml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23" Type="http://schemas.openxmlformats.org/officeDocument/2006/relationships/tags" Target="../tags/tag141.xml"/><Relationship Id="rId28" Type="http://schemas.openxmlformats.org/officeDocument/2006/relationships/slide" Target="slide17.xml"/><Relationship Id="rId10" Type="http://schemas.openxmlformats.org/officeDocument/2006/relationships/tags" Target="../tags/tag128.xml"/><Relationship Id="rId19" Type="http://schemas.openxmlformats.org/officeDocument/2006/relationships/tags" Target="../tags/tag137.xml"/><Relationship Id="rId31" Type="http://schemas.openxmlformats.org/officeDocument/2006/relationships/slide" Target="slide11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Relationship Id="rId22" Type="http://schemas.openxmlformats.org/officeDocument/2006/relationships/tags" Target="../tags/tag140.xml"/><Relationship Id="rId27" Type="http://schemas.openxmlformats.org/officeDocument/2006/relationships/slide" Target="slide23.xml"/><Relationship Id="rId30" Type="http://schemas.openxmlformats.org/officeDocument/2006/relationships/slide" Target="slide12.xml"/><Relationship Id="rId8" Type="http://schemas.openxmlformats.org/officeDocument/2006/relationships/tags" Target="../tags/tag126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55.xml"/><Relationship Id="rId18" Type="http://schemas.openxmlformats.org/officeDocument/2006/relationships/tags" Target="../tags/tag160.xml"/><Relationship Id="rId26" Type="http://schemas.openxmlformats.org/officeDocument/2006/relationships/notesSlide" Target="../notesSlides/notesSlide11.xml"/><Relationship Id="rId3" Type="http://schemas.openxmlformats.org/officeDocument/2006/relationships/tags" Target="../tags/tag145.xml"/><Relationship Id="rId21" Type="http://schemas.openxmlformats.org/officeDocument/2006/relationships/tags" Target="../tags/tag163.xml"/><Relationship Id="rId7" Type="http://schemas.openxmlformats.org/officeDocument/2006/relationships/tags" Target="../tags/tag149.xml"/><Relationship Id="rId12" Type="http://schemas.openxmlformats.org/officeDocument/2006/relationships/tags" Target="../tags/tag154.xml"/><Relationship Id="rId17" Type="http://schemas.openxmlformats.org/officeDocument/2006/relationships/tags" Target="../tags/tag159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144.xml"/><Relationship Id="rId16" Type="http://schemas.openxmlformats.org/officeDocument/2006/relationships/tags" Target="../tags/tag158.xml"/><Relationship Id="rId20" Type="http://schemas.openxmlformats.org/officeDocument/2006/relationships/tags" Target="../tags/tag162.xml"/><Relationship Id="rId29" Type="http://schemas.openxmlformats.org/officeDocument/2006/relationships/slide" Target="slide15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11" Type="http://schemas.openxmlformats.org/officeDocument/2006/relationships/tags" Target="../tags/tag153.xml"/><Relationship Id="rId24" Type="http://schemas.openxmlformats.org/officeDocument/2006/relationships/tags" Target="../tags/tag166.xml"/><Relationship Id="rId32" Type="http://schemas.openxmlformats.org/officeDocument/2006/relationships/slide" Target="slide6.xml"/><Relationship Id="rId5" Type="http://schemas.openxmlformats.org/officeDocument/2006/relationships/tags" Target="../tags/tag147.xml"/><Relationship Id="rId15" Type="http://schemas.openxmlformats.org/officeDocument/2006/relationships/tags" Target="../tags/tag157.xml"/><Relationship Id="rId23" Type="http://schemas.openxmlformats.org/officeDocument/2006/relationships/tags" Target="../tags/tag165.xml"/><Relationship Id="rId28" Type="http://schemas.openxmlformats.org/officeDocument/2006/relationships/slide" Target="slide17.xml"/><Relationship Id="rId10" Type="http://schemas.openxmlformats.org/officeDocument/2006/relationships/tags" Target="../tags/tag152.xml"/><Relationship Id="rId19" Type="http://schemas.openxmlformats.org/officeDocument/2006/relationships/tags" Target="../tags/tag161.xml"/><Relationship Id="rId31" Type="http://schemas.openxmlformats.org/officeDocument/2006/relationships/slide" Target="slide11.xml"/><Relationship Id="rId4" Type="http://schemas.openxmlformats.org/officeDocument/2006/relationships/tags" Target="../tags/tag146.xml"/><Relationship Id="rId9" Type="http://schemas.openxmlformats.org/officeDocument/2006/relationships/tags" Target="../tags/tag151.xml"/><Relationship Id="rId14" Type="http://schemas.openxmlformats.org/officeDocument/2006/relationships/tags" Target="../tags/tag156.xml"/><Relationship Id="rId22" Type="http://schemas.openxmlformats.org/officeDocument/2006/relationships/tags" Target="../tags/tag164.xml"/><Relationship Id="rId27" Type="http://schemas.openxmlformats.org/officeDocument/2006/relationships/slide" Target="slide23.xml"/><Relationship Id="rId30" Type="http://schemas.openxmlformats.org/officeDocument/2006/relationships/slide" Target="slide12.xml"/><Relationship Id="rId8" Type="http://schemas.openxmlformats.org/officeDocument/2006/relationships/tags" Target="../tags/tag15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14.emf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71.xml"/><Relationship Id="rId7" Type="http://schemas.openxmlformats.org/officeDocument/2006/relationships/tags" Target="../tags/tag1690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notesSlide" Target="../notesSlides/notesSlide13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2.xml"/><Relationship Id="rId10" Type="http://schemas.openxmlformats.org/officeDocument/2006/relationships/tags" Target="../tags/tag1700.xml"/><Relationship Id="rId4" Type="http://schemas.openxmlformats.org/officeDocument/2006/relationships/tags" Target="../tags/tag172.xml"/><Relationship Id="rId9" Type="http://schemas.openxmlformats.org/officeDocument/2006/relationships/image" Target="../media/image15.emf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85.xml"/><Relationship Id="rId18" Type="http://schemas.openxmlformats.org/officeDocument/2006/relationships/tags" Target="../tags/tag190.xml"/><Relationship Id="rId26" Type="http://schemas.openxmlformats.org/officeDocument/2006/relationships/notesSlide" Target="../notesSlides/notesSlide14.xml"/><Relationship Id="rId3" Type="http://schemas.openxmlformats.org/officeDocument/2006/relationships/tags" Target="../tags/tag175.xml"/><Relationship Id="rId21" Type="http://schemas.openxmlformats.org/officeDocument/2006/relationships/tags" Target="../tags/tag193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17" Type="http://schemas.openxmlformats.org/officeDocument/2006/relationships/tags" Target="../tags/tag189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174.xml"/><Relationship Id="rId16" Type="http://schemas.openxmlformats.org/officeDocument/2006/relationships/tags" Target="../tags/tag188.xml"/><Relationship Id="rId20" Type="http://schemas.openxmlformats.org/officeDocument/2006/relationships/tags" Target="../tags/tag192.xml"/><Relationship Id="rId29" Type="http://schemas.openxmlformats.org/officeDocument/2006/relationships/slide" Target="slide15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24" Type="http://schemas.openxmlformats.org/officeDocument/2006/relationships/tags" Target="../tags/tag196.xml"/><Relationship Id="rId32" Type="http://schemas.openxmlformats.org/officeDocument/2006/relationships/slide" Target="slide6.xml"/><Relationship Id="rId5" Type="http://schemas.openxmlformats.org/officeDocument/2006/relationships/tags" Target="../tags/tag177.xml"/><Relationship Id="rId15" Type="http://schemas.openxmlformats.org/officeDocument/2006/relationships/tags" Target="../tags/tag187.xml"/><Relationship Id="rId23" Type="http://schemas.openxmlformats.org/officeDocument/2006/relationships/tags" Target="../tags/tag195.xml"/><Relationship Id="rId28" Type="http://schemas.openxmlformats.org/officeDocument/2006/relationships/slide" Target="slide17.xml"/><Relationship Id="rId10" Type="http://schemas.openxmlformats.org/officeDocument/2006/relationships/tags" Target="../tags/tag182.xml"/><Relationship Id="rId19" Type="http://schemas.openxmlformats.org/officeDocument/2006/relationships/tags" Target="../tags/tag191.xml"/><Relationship Id="rId31" Type="http://schemas.openxmlformats.org/officeDocument/2006/relationships/slide" Target="slide11.xml"/><Relationship Id="rId4" Type="http://schemas.openxmlformats.org/officeDocument/2006/relationships/tags" Target="../tags/tag176.xml"/><Relationship Id="rId9" Type="http://schemas.openxmlformats.org/officeDocument/2006/relationships/tags" Target="../tags/tag181.xml"/><Relationship Id="rId14" Type="http://schemas.openxmlformats.org/officeDocument/2006/relationships/tags" Target="../tags/tag186.xml"/><Relationship Id="rId22" Type="http://schemas.openxmlformats.org/officeDocument/2006/relationships/tags" Target="../tags/tag194.xml"/><Relationship Id="rId27" Type="http://schemas.openxmlformats.org/officeDocument/2006/relationships/slide" Target="slide23.xml"/><Relationship Id="rId30" Type="http://schemas.openxmlformats.org/officeDocument/2006/relationships/slide" Target="slide12.xml"/><Relationship Id="rId8" Type="http://schemas.openxmlformats.org/officeDocument/2006/relationships/tags" Target="../tags/tag18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17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13" Type="http://schemas.openxmlformats.org/officeDocument/2006/relationships/tags" Target="../tags/tag213.xml"/><Relationship Id="rId18" Type="http://schemas.openxmlformats.org/officeDocument/2006/relationships/tags" Target="../tags/tag218.xml"/><Relationship Id="rId3" Type="http://schemas.openxmlformats.org/officeDocument/2006/relationships/tags" Target="../tags/tag203.xml"/><Relationship Id="rId21" Type="http://schemas.openxmlformats.org/officeDocument/2006/relationships/slide" Target="slide23.xml"/><Relationship Id="rId7" Type="http://schemas.openxmlformats.org/officeDocument/2006/relationships/tags" Target="../tags/tag207.xml"/><Relationship Id="rId12" Type="http://schemas.openxmlformats.org/officeDocument/2006/relationships/tags" Target="../tags/tag212.xml"/><Relationship Id="rId17" Type="http://schemas.openxmlformats.org/officeDocument/2006/relationships/tags" Target="../tags/tag217.xml"/><Relationship Id="rId25" Type="http://schemas.openxmlformats.org/officeDocument/2006/relationships/slide" Target="slide4.xml"/><Relationship Id="rId2" Type="http://schemas.openxmlformats.org/officeDocument/2006/relationships/tags" Target="../tags/tag202.xml"/><Relationship Id="rId16" Type="http://schemas.openxmlformats.org/officeDocument/2006/relationships/tags" Target="../tags/tag216.xml"/><Relationship Id="rId20" Type="http://schemas.openxmlformats.org/officeDocument/2006/relationships/notesSlide" Target="../notesSlides/notesSlide16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24" Type="http://schemas.openxmlformats.org/officeDocument/2006/relationships/slide" Target="slide6.xml"/><Relationship Id="rId5" Type="http://schemas.openxmlformats.org/officeDocument/2006/relationships/tags" Target="../tags/tag205.xml"/><Relationship Id="rId15" Type="http://schemas.openxmlformats.org/officeDocument/2006/relationships/tags" Target="../tags/tag215.xml"/><Relationship Id="rId23" Type="http://schemas.openxmlformats.org/officeDocument/2006/relationships/slide" Target="slide11.xml"/><Relationship Id="rId10" Type="http://schemas.openxmlformats.org/officeDocument/2006/relationships/tags" Target="../tags/tag210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tags" Target="../tags/tag214.xml"/><Relationship Id="rId22" Type="http://schemas.openxmlformats.org/officeDocument/2006/relationships/slide" Target="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11.png"/><Relationship Id="rId7" Type="http://schemas.openxmlformats.org/officeDocument/2006/relationships/image" Target="../media/image31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0.png"/><Relationship Id="rId11" Type="http://schemas.openxmlformats.org/officeDocument/2006/relationships/image" Target="../media/image35.svg"/><Relationship Id="rId5" Type="http://schemas.openxmlformats.org/officeDocument/2006/relationships/image" Target="../media/image29.sv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tags" Target="../tags/tag231.xml"/><Relationship Id="rId18" Type="http://schemas.openxmlformats.org/officeDocument/2006/relationships/tags" Target="../tags/tag236.xml"/><Relationship Id="rId3" Type="http://schemas.openxmlformats.org/officeDocument/2006/relationships/tags" Target="../tags/tag221.xml"/><Relationship Id="rId21" Type="http://schemas.openxmlformats.org/officeDocument/2006/relationships/slide" Target="slide23.xml"/><Relationship Id="rId7" Type="http://schemas.openxmlformats.org/officeDocument/2006/relationships/tags" Target="../tags/tag225.xml"/><Relationship Id="rId12" Type="http://schemas.openxmlformats.org/officeDocument/2006/relationships/tags" Target="../tags/tag230.xml"/><Relationship Id="rId17" Type="http://schemas.openxmlformats.org/officeDocument/2006/relationships/tags" Target="../tags/tag235.xml"/><Relationship Id="rId25" Type="http://schemas.openxmlformats.org/officeDocument/2006/relationships/slide" Target="slide4.xml"/><Relationship Id="rId2" Type="http://schemas.openxmlformats.org/officeDocument/2006/relationships/tags" Target="../tags/tag220.xml"/><Relationship Id="rId16" Type="http://schemas.openxmlformats.org/officeDocument/2006/relationships/tags" Target="../tags/tag234.xml"/><Relationship Id="rId20" Type="http://schemas.openxmlformats.org/officeDocument/2006/relationships/notesSlide" Target="../notesSlides/notesSlide18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24" Type="http://schemas.openxmlformats.org/officeDocument/2006/relationships/slide" Target="slide6.xml"/><Relationship Id="rId5" Type="http://schemas.openxmlformats.org/officeDocument/2006/relationships/tags" Target="../tags/tag223.xml"/><Relationship Id="rId15" Type="http://schemas.openxmlformats.org/officeDocument/2006/relationships/tags" Target="../tags/tag233.xml"/><Relationship Id="rId23" Type="http://schemas.openxmlformats.org/officeDocument/2006/relationships/slide" Target="slide11.xml"/><Relationship Id="rId10" Type="http://schemas.openxmlformats.org/officeDocument/2006/relationships/tags" Target="../tags/tag228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Relationship Id="rId22" Type="http://schemas.openxmlformats.org/officeDocument/2006/relationships/slide" Target="slide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6.xml"/><Relationship Id="rId21" Type="http://schemas.openxmlformats.org/officeDocument/2006/relationships/slide" Target="slide17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slide" Target="slide23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slide" Target="slide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slide" Target="slide6.xml"/><Relationship Id="rId10" Type="http://schemas.openxmlformats.org/officeDocument/2006/relationships/tags" Target="../tags/tag13.xml"/><Relationship Id="rId19" Type="http://schemas.openxmlformats.org/officeDocument/2006/relationships/notesSlide" Target="../notesSlides/notesSlide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slide" Target="slide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slide" Target="slide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slide" Target="slide4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3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slide" Target="slide6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slide" Target="slide11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slide" Target="slide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notesSlide" Target="../notesSlides/notesSlide5.xml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slide" Target="slide1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32" Type="http://schemas.openxmlformats.org/officeDocument/2006/relationships/slide" Target="slide6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slide" Target="slide17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slide" Target="slide7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slide" Target="slide23.xml"/><Relationship Id="rId30" Type="http://schemas.openxmlformats.org/officeDocument/2006/relationships/slide" Target="slide9.xml"/><Relationship Id="rId8" Type="http://schemas.openxmlformats.org/officeDocument/2006/relationships/tags" Target="../tags/tag47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notesSlide" Target="../notesSlides/notesSlide6.xml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slide" Target="slide11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32" Type="http://schemas.openxmlformats.org/officeDocument/2006/relationships/slide" Target="slide6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slide" Target="slide17.xml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31" Type="http://schemas.openxmlformats.org/officeDocument/2006/relationships/slide" Target="slide7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slide" Target="slide23.xml"/><Relationship Id="rId30" Type="http://schemas.openxmlformats.org/officeDocument/2006/relationships/slide" Target="slide9.xml"/><Relationship Id="rId8" Type="http://schemas.openxmlformats.org/officeDocument/2006/relationships/tags" Target="../tags/tag7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02.xml"/><Relationship Id="rId18" Type="http://schemas.openxmlformats.org/officeDocument/2006/relationships/tags" Target="../tags/tag107.xml"/><Relationship Id="rId26" Type="http://schemas.openxmlformats.org/officeDocument/2006/relationships/notesSlide" Target="../notesSlides/notesSlide8.xml"/><Relationship Id="rId3" Type="http://schemas.openxmlformats.org/officeDocument/2006/relationships/tags" Target="../tags/tag92.xml"/><Relationship Id="rId21" Type="http://schemas.openxmlformats.org/officeDocument/2006/relationships/tags" Target="../tags/tag110.xml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17" Type="http://schemas.openxmlformats.org/officeDocument/2006/relationships/tags" Target="../tags/tag106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91.xml"/><Relationship Id="rId16" Type="http://schemas.openxmlformats.org/officeDocument/2006/relationships/tags" Target="../tags/tag105.xml"/><Relationship Id="rId20" Type="http://schemas.openxmlformats.org/officeDocument/2006/relationships/tags" Target="../tags/tag109.xml"/><Relationship Id="rId29" Type="http://schemas.openxmlformats.org/officeDocument/2006/relationships/slide" Target="slide1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24" Type="http://schemas.openxmlformats.org/officeDocument/2006/relationships/tags" Target="../tags/tag113.xml"/><Relationship Id="rId32" Type="http://schemas.openxmlformats.org/officeDocument/2006/relationships/slide" Target="slide6.xml"/><Relationship Id="rId5" Type="http://schemas.openxmlformats.org/officeDocument/2006/relationships/tags" Target="../tags/tag94.xml"/><Relationship Id="rId15" Type="http://schemas.openxmlformats.org/officeDocument/2006/relationships/tags" Target="../tags/tag104.xml"/><Relationship Id="rId23" Type="http://schemas.openxmlformats.org/officeDocument/2006/relationships/tags" Target="../tags/tag112.xml"/><Relationship Id="rId28" Type="http://schemas.openxmlformats.org/officeDocument/2006/relationships/slide" Target="slide17.xml"/><Relationship Id="rId10" Type="http://schemas.openxmlformats.org/officeDocument/2006/relationships/tags" Target="../tags/tag99.xml"/><Relationship Id="rId19" Type="http://schemas.openxmlformats.org/officeDocument/2006/relationships/tags" Target="../tags/tag108.xml"/><Relationship Id="rId31" Type="http://schemas.openxmlformats.org/officeDocument/2006/relationships/slide" Target="slide7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tags" Target="../tags/tag103.xml"/><Relationship Id="rId22" Type="http://schemas.openxmlformats.org/officeDocument/2006/relationships/tags" Target="../tags/tag111.xml"/><Relationship Id="rId27" Type="http://schemas.openxmlformats.org/officeDocument/2006/relationships/slide" Target="slide23.xml"/><Relationship Id="rId30" Type="http://schemas.openxmlformats.org/officeDocument/2006/relationships/slide" Target="slide9.xml"/><Relationship Id="rId8" Type="http://schemas.openxmlformats.org/officeDocument/2006/relationships/tags" Target="../tags/tag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Untertitel 1">
            <a:extLst>
              <a:ext uri="{FF2B5EF4-FFF2-40B4-BE49-F238E27FC236}">
                <a16:creationId xmlns:a16="http://schemas.microsoft.com/office/drawing/2014/main" id="{7449D328-81C7-43AA-85A5-1277315605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0825" y="1087438"/>
            <a:ext cx="6842125" cy="708025"/>
          </a:xfrm>
        </p:spPr>
        <p:txBody>
          <a:bodyPr/>
          <a:lstStyle/>
          <a:p>
            <a:pPr eaLnBrk="1" hangingPunct="1"/>
            <a:r>
              <a:rPr lang="de-DE" altLang="de-DE" sz="1600" dirty="0"/>
              <a:t>Angelina Horn</a:t>
            </a:r>
          </a:p>
        </p:txBody>
      </p:sp>
      <p:sp>
        <p:nvSpPr>
          <p:cNvPr id="3075" name="Titel 2">
            <a:extLst>
              <a:ext uri="{FF2B5EF4-FFF2-40B4-BE49-F238E27FC236}">
                <a16:creationId xmlns:a16="http://schemas.microsoft.com/office/drawing/2014/main" id="{FEED4CEC-8ED3-450F-B059-95ECB8415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463" y="366713"/>
            <a:ext cx="6821487" cy="628650"/>
          </a:xfrm>
        </p:spPr>
        <p:txBody>
          <a:bodyPr/>
          <a:lstStyle/>
          <a:p>
            <a:pPr eaLnBrk="1" hangingPunct="1"/>
            <a:r>
              <a:rPr lang="de-DE" altLang="de-DE" dirty="0"/>
              <a:t>Pod Autoscaling in Kubernetes Cluster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2A413F7-A0D7-0347-89F7-009A660588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01640" y="1901131"/>
            <a:ext cx="4340720" cy="2893813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49350B4-D09A-3344-BB0B-974E43FB601D}"/>
              </a:ext>
            </a:extLst>
          </p:cNvPr>
          <p:cNvSpPr txBox="1"/>
          <p:nvPr/>
        </p:nvSpPr>
        <p:spPr>
          <a:xfrm>
            <a:off x="6372200" y="4581271"/>
            <a:ext cx="28803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B5B5B5"/>
                </a:solidFill>
              </a:rPr>
              <a:t>Source: https://learnk8s.io/autoscaling-apps-kubernete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B02C3-08C2-4DED-9B67-244F8B1AA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scal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FAB284-7A27-4296-9782-3C61085C7E1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96737" y="3219822"/>
            <a:ext cx="4069462" cy="1412504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ClrTx/>
              <a:buSzPct val="100000"/>
              <a:buNone/>
            </a:pPr>
            <a:r>
              <a:rPr lang="en-US" b="0" dirty="0">
                <a:latin typeface="Arial" panose="020B0604020202020204" pitchFamily="34" charset="0"/>
              </a:rPr>
              <a:t>Increase/decrease resources (e.g. CPU share) of existing pod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CBC86902-2F3F-4EDD-93CD-73C21CAAAD51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9" y="3219822"/>
            <a:ext cx="4069462" cy="1412504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ClrTx/>
              <a:buSzPct val="100000"/>
              <a:buNone/>
            </a:pPr>
            <a:r>
              <a:rPr lang="en-US" b="0" dirty="0">
                <a:latin typeface="Arial" panose="020B0604020202020204" pitchFamily="34" charset="0"/>
              </a:rPr>
              <a:t>Deploy more/fewer instances of a certain pod</a:t>
            </a:r>
          </a:p>
        </p:txBody>
      </p:sp>
      <p:sp>
        <p:nvSpPr>
          <p:cNvPr id="6" name="Rechteck 13">
            <a:extLst>
              <a:ext uri="{FF2B5EF4-FFF2-40B4-BE49-F238E27FC236}">
                <a16:creationId xmlns:a16="http://schemas.microsoft.com/office/drawing/2014/main" id="{0ED8A4A4-A408-40FC-BD40-69F50C7A036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896737" y="2863879"/>
            <a:ext cx="40694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Vertical</a:t>
            </a: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379F2064-62D1-481A-AD16-0823663D70B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79512" y="2863879"/>
            <a:ext cx="40694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Horizontal</a:t>
            </a:r>
          </a:p>
        </p:txBody>
      </p:sp>
      <p:pic>
        <p:nvPicPr>
          <p:cNvPr id="10" name="Graphic 9" descr="Database">
            <a:extLst>
              <a:ext uri="{FF2B5EF4-FFF2-40B4-BE49-F238E27FC236}">
                <a16:creationId xmlns:a16="http://schemas.microsoft.com/office/drawing/2014/main" id="{A9A6EE11-EC85-4EE9-96ED-401C92CAFC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0149" y="3962579"/>
            <a:ext cx="546573" cy="546573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2449B15-926D-4988-97AA-CC7678444E9A}"/>
              </a:ext>
            </a:extLst>
          </p:cNvPr>
          <p:cNvCxnSpPr/>
          <p:nvPr/>
        </p:nvCxnSpPr>
        <p:spPr>
          <a:xfrm>
            <a:off x="323528" y="4515966"/>
            <a:ext cx="388843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3" name="Graphic 12" descr="Database">
            <a:extLst>
              <a:ext uri="{FF2B5EF4-FFF2-40B4-BE49-F238E27FC236}">
                <a16:creationId xmlns:a16="http://schemas.microsoft.com/office/drawing/2014/main" id="{BED18756-E997-49E8-8305-4150726B61D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92401" y="3948503"/>
            <a:ext cx="546573" cy="546573"/>
          </a:xfrm>
          <a:prstGeom prst="rect">
            <a:avLst/>
          </a:prstGeom>
        </p:spPr>
      </p:pic>
      <p:pic>
        <p:nvPicPr>
          <p:cNvPr id="14" name="Graphic 13" descr="Database">
            <a:extLst>
              <a:ext uri="{FF2B5EF4-FFF2-40B4-BE49-F238E27FC236}">
                <a16:creationId xmlns:a16="http://schemas.microsoft.com/office/drawing/2014/main" id="{93193B98-AD7A-41B4-BB54-785079741A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40831" y="3958948"/>
            <a:ext cx="546573" cy="546573"/>
          </a:xfrm>
          <a:prstGeom prst="rect">
            <a:avLst/>
          </a:prstGeom>
        </p:spPr>
      </p:pic>
      <p:pic>
        <p:nvPicPr>
          <p:cNvPr id="15" name="Graphic 14" descr="Database">
            <a:extLst>
              <a:ext uri="{FF2B5EF4-FFF2-40B4-BE49-F238E27FC236}">
                <a16:creationId xmlns:a16="http://schemas.microsoft.com/office/drawing/2014/main" id="{174DD29B-20DC-4F80-B0BF-2B908F4476E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41466" y="3969392"/>
            <a:ext cx="546573" cy="546573"/>
          </a:xfrm>
          <a:prstGeom prst="rect">
            <a:avLst/>
          </a:prstGeom>
        </p:spPr>
      </p:pic>
      <p:pic>
        <p:nvPicPr>
          <p:cNvPr id="16" name="Graphic 15" descr="Database">
            <a:extLst>
              <a:ext uri="{FF2B5EF4-FFF2-40B4-BE49-F238E27FC236}">
                <a16:creationId xmlns:a16="http://schemas.microsoft.com/office/drawing/2014/main" id="{119BFD93-F69B-4D9C-BC0F-59A07B34623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05331" y="3969391"/>
            <a:ext cx="546573" cy="546573"/>
          </a:xfrm>
          <a:prstGeom prst="rect">
            <a:avLst/>
          </a:prstGeom>
        </p:spPr>
      </p:pic>
      <p:pic>
        <p:nvPicPr>
          <p:cNvPr id="17" name="Graphic 16" descr="Database">
            <a:extLst>
              <a:ext uri="{FF2B5EF4-FFF2-40B4-BE49-F238E27FC236}">
                <a16:creationId xmlns:a16="http://schemas.microsoft.com/office/drawing/2014/main" id="{D0FD7B94-56DF-4DCB-888B-878CE04224F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56804" y="3969393"/>
            <a:ext cx="546573" cy="546573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016940-2234-4DE0-AD98-593B5C27B374}"/>
              </a:ext>
            </a:extLst>
          </p:cNvPr>
          <p:cNvCxnSpPr>
            <a:cxnSpLocks/>
          </p:cNvCxnSpPr>
          <p:nvPr/>
        </p:nvCxnSpPr>
        <p:spPr>
          <a:xfrm>
            <a:off x="8868643" y="3545412"/>
            <a:ext cx="0" cy="104256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Database">
            <a:extLst>
              <a:ext uri="{FF2B5EF4-FFF2-40B4-BE49-F238E27FC236}">
                <a16:creationId xmlns:a16="http://schemas.microsoft.com/office/drawing/2014/main" id="{3F417AE4-2F7E-4B40-B4AC-50E4ABD91B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84185" y="4074543"/>
            <a:ext cx="546573" cy="546573"/>
          </a:xfrm>
          <a:prstGeom prst="rect">
            <a:avLst/>
          </a:prstGeom>
        </p:spPr>
      </p:pic>
      <p:pic>
        <p:nvPicPr>
          <p:cNvPr id="20" name="Graphic 19" descr="Database">
            <a:extLst>
              <a:ext uri="{FF2B5EF4-FFF2-40B4-BE49-F238E27FC236}">
                <a16:creationId xmlns:a16="http://schemas.microsoft.com/office/drawing/2014/main" id="{C6F50373-ECC4-49D4-93CB-25F6D89676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27292" y="3869405"/>
            <a:ext cx="760611" cy="760611"/>
          </a:xfrm>
          <a:prstGeom prst="rect">
            <a:avLst/>
          </a:prstGeom>
        </p:spPr>
      </p:pic>
      <p:pic>
        <p:nvPicPr>
          <p:cNvPr id="21" name="Graphic 20" descr="Database">
            <a:extLst>
              <a:ext uri="{FF2B5EF4-FFF2-40B4-BE49-F238E27FC236}">
                <a16:creationId xmlns:a16="http://schemas.microsoft.com/office/drawing/2014/main" id="{BF8B50B3-4027-441D-8C7E-B08E8DFD44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72059" y="3507854"/>
            <a:ext cx="1226294" cy="1226294"/>
          </a:xfrm>
          <a:prstGeom prst="rect">
            <a:avLst/>
          </a:prstGeom>
        </p:spPr>
      </p:pic>
      <p:sp>
        <p:nvSpPr>
          <p:cNvPr id="24" name="Rectangle 3">
            <a:extLst>
              <a:ext uri="{FF2B5EF4-FFF2-40B4-BE49-F238E27FC236}">
                <a16:creationId xmlns:a16="http://schemas.microsoft.com/office/drawing/2014/main" id="{15DE5E74-36B2-42FD-9395-A0AEF8FDB3D8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1500" y="1203326"/>
            <a:ext cx="8784699" cy="1544194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b="0" dirty="0">
                <a:latin typeface="Arial" panose="020B0604020202020204" pitchFamily="34" charset="0"/>
              </a:rPr>
              <a:t>Automatic scaling of pods in relation to certain metrics</a:t>
            </a:r>
          </a:p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Several approaches possible:</a:t>
            </a:r>
          </a:p>
          <a:p>
            <a:pPr lvl="2">
              <a:buClrTx/>
              <a:buSzPct val="100000"/>
            </a:pPr>
            <a:r>
              <a:rPr lang="en-US" b="0" dirty="0">
                <a:latin typeface="Arial" panose="020B0604020202020204" pitchFamily="34" charset="0"/>
              </a:rPr>
              <a:t>Threshold bound vs. flexible </a:t>
            </a:r>
          </a:p>
          <a:p>
            <a:pPr lvl="2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Mathematical programming vs. heuristics</a:t>
            </a:r>
            <a:endParaRPr lang="en-US" b="0" dirty="0">
              <a:latin typeface="Arial" panose="020B0604020202020204" pitchFamily="34" charset="0"/>
            </a:endParaRPr>
          </a:p>
          <a:p>
            <a:pPr lvl="2">
              <a:buClrTx/>
              <a:buSzPct val="100000"/>
            </a:pPr>
            <a:endParaRPr lang="en-US" b="0" dirty="0">
              <a:latin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93B991D-8CD6-40E6-8E98-78B4704CDFC3}"/>
              </a:ext>
            </a:extLst>
          </p:cNvPr>
          <p:cNvSpPr/>
          <p:nvPr/>
        </p:nvSpPr>
        <p:spPr>
          <a:xfrm>
            <a:off x="3803416" y="3577017"/>
            <a:ext cx="1525458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</a:t>
            </a:r>
            <a:r>
              <a:rPr lang="en-US" sz="32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.</a:t>
            </a:r>
          </a:p>
        </p:txBody>
      </p:sp>
    </p:spTree>
    <p:extLst>
      <p:ext uri="{BB962C8B-B14F-4D97-AF65-F5344CB8AC3E}">
        <p14:creationId xmlns:p14="http://schemas.microsoft.com/office/powerpoint/2010/main" val="38187576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0F336759-0675-405B-B4FE-649DF0910C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F701D3AC-AE23-401E-9408-48DA53F128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36EFC88A-1155-4FCC-A836-5DDBCE76973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9D3F2F39-A5CB-4833-A399-0E11B6FEEDB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917260CC-51E8-4CB8-9011-0E3AFF7045B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1B01570D-8885-47A7-B990-01BE616B5C1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hlinkClick r:id="rId29" action="ppaction://hlinksldjump"/>
            <a:extLst>
              <a:ext uri="{FF2B5EF4-FFF2-40B4-BE49-F238E27FC236}">
                <a16:creationId xmlns:a16="http://schemas.microsoft.com/office/drawing/2014/main" id="{ADE26C23-B735-4414-9671-47225B27A61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5</a:t>
            </a: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B8A16BA7-FE07-4002-9022-929E31272F3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75055" y="3194658"/>
            <a:ext cx="5362809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Performance Analysis of Vertical Scal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0" name="Oval 39">
            <a:hlinkClick r:id="rId29" action="ppaction://hlinksldjump"/>
            <a:extLst>
              <a:ext uri="{FF2B5EF4-FFF2-40B4-BE49-F238E27FC236}">
                <a16:creationId xmlns:a16="http://schemas.microsoft.com/office/drawing/2014/main" id="{5213A94C-17FB-4420-93B7-2E6E167D5F0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77221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39" name="Rectangle 38">
            <a:hlinkClick r:id="rId30" action="ppaction://hlinksldjump"/>
            <a:extLst>
              <a:ext uri="{FF2B5EF4-FFF2-40B4-BE49-F238E27FC236}">
                <a16:creationId xmlns:a16="http://schemas.microsoft.com/office/drawing/2014/main" id="{BF334E58-1126-4967-ACC0-D6CDB595098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2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C6697CBA-11CE-40DE-AFE7-ED9EA668D74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Horizontal and Vertical Scaling using Reinforcement Learn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7" name="Oval 36">
            <a:hlinkClick r:id="rId30" action="ppaction://hlinksldjump"/>
            <a:extLst>
              <a:ext uri="{FF2B5EF4-FFF2-40B4-BE49-F238E27FC236}">
                <a16:creationId xmlns:a16="http://schemas.microsoft.com/office/drawing/2014/main" id="{3326DA4E-790B-46B3-A26E-82998FE415C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1B2DC86-B925-4350-BB18-0B2BC873C6E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00388" y="2198991"/>
            <a:ext cx="8565811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F794A81F-6C0E-438F-86D6-2A14F32AF38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>
            <a:hlinkClick r:id="rId31" action="ppaction://hlinksldjump"/>
            <a:extLst>
              <a:ext uri="{FF2B5EF4-FFF2-40B4-BE49-F238E27FC236}">
                <a16:creationId xmlns:a16="http://schemas.microsoft.com/office/drawing/2014/main" id="{DA49F236-CB50-43E6-96CC-B68C19F6627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33" name="Oval 32">
            <a:hlinkClick r:id="rId31" action="ppaction://hlinksldjump"/>
            <a:extLst>
              <a:ext uri="{FF2B5EF4-FFF2-40B4-BE49-F238E27FC236}">
                <a16:creationId xmlns:a16="http://schemas.microsoft.com/office/drawing/2014/main" id="{C57F351F-B841-49B2-914E-8645679A663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7F8418F2-1583-4086-B8FF-0A5F65FE192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41352B72-DE02-465E-B015-19ED1915CB5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61B9A9C6-4B40-4E96-82FE-14FC4B5DD25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48A52A35-D109-4CA7-85B4-B823FEF0EEA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FE8C5073-4ECE-452C-A70A-F912235F38FD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5131CA8F-8DC6-47BD-87CA-0AADC9CED84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09EADB74-D21E-4848-BAB2-D37BC8B1B179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5790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292616A6-657F-485C-B0B4-532FA115C6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7F201B87-556E-41ED-8964-0F85B756A2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BCFAB5EE-5198-4BD6-8F00-7B9D4DCAC3C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64ED9AEF-2869-4EDC-B4DD-AAD37A2242E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1DADF07C-F6E6-466E-AB74-25E3B5986AD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9E5182F7-7317-4FC7-8D01-5051A644105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hlinkClick r:id="rId29" action="ppaction://hlinksldjump"/>
            <a:extLst>
              <a:ext uri="{FF2B5EF4-FFF2-40B4-BE49-F238E27FC236}">
                <a16:creationId xmlns:a16="http://schemas.microsoft.com/office/drawing/2014/main" id="{C0845D47-1DF9-461F-BBE3-4960BB09159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5</a:t>
            </a: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E2580DB4-47B0-4071-9BD6-AC35D41DD84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75055" y="3194658"/>
            <a:ext cx="5362809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Performance Analysis of Vertical Scal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0" name="Oval 39">
            <a:hlinkClick r:id="rId29" action="ppaction://hlinksldjump"/>
            <a:extLst>
              <a:ext uri="{FF2B5EF4-FFF2-40B4-BE49-F238E27FC236}">
                <a16:creationId xmlns:a16="http://schemas.microsoft.com/office/drawing/2014/main" id="{790FD46E-0399-4BA8-AB86-272187CA1C5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77221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5CE05D7-1D0F-4FA1-BD29-E18BF2BE86B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98222" y="2696824"/>
            <a:ext cx="8067977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CC1F1BF7-A8FB-401E-BA16-36700D1EBCA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2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36">
            <a:hlinkClick r:id="rId30" action="ppaction://hlinksldjump"/>
            <a:extLst>
              <a:ext uri="{FF2B5EF4-FFF2-40B4-BE49-F238E27FC236}">
                <a16:creationId xmlns:a16="http://schemas.microsoft.com/office/drawing/2014/main" id="{B2FB6D58-15C0-433D-8EF4-2F28019B421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Horizontal and Vertical Scaling using Reinforcement Learn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6" name="Oval 35">
            <a:hlinkClick r:id="rId30" action="ppaction://hlinksldjump"/>
            <a:extLst>
              <a:ext uri="{FF2B5EF4-FFF2-40B4-BE49-F238E27FC236}">
                <a16:creationId xmlns:a16="http://schemas.microsoft.com/office/drawing/2014/main" id="{27600CBB-B68C-4AA6-B373-0C0B7EE5ABF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71BBF4D0-7054-4F00-ABC6-BAC79C85F56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>
            <a:hlinkClick r:id="rId31" action="ppaction://hlinksldjump"/>
            <a:extLst>
              <a:ext uri="{FF2B5EF4-FFF2-40B4-BE49-F238E27FC236}">
                <a16:creationId xmlns:a16="http://schemas.microsoft.com/office/drawing/2014/main" id="{80281CD3-A0DA-481B-ADEE-0E8D6E47E46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33" name="Oval 32">
            <a:hlinkClick r:id="rId31" action="ppaction://hlinksldjump"/>
            <a:extLst>
              <a:ext uri="{FF2B5EF4-FFF2-40B4-BE49-F238E27FC236}">
                <a16:creationId xmlns:a16="http://schemas.microsoft.com/office/drawing/2014/main" id="{6390CF64-0C64-447E-BFD5-746D70F51A9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8EB89ECD-452E-45DB-9E93-8491EBE8D8C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8AE69B25-D0EC-4658-8687-6A1841CA196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2DA3AB65-8803-43F1-986F-EE3A927F23E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DBC50C95-731B-467F-AB30-099EA80CE87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3EECBC2E-099A-4288-924D-45708CF1207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2B55F00A-293D-495A-B6E4-ABF2FAC74F14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25B8B8D6-B8BB-433F-BFD2-9DD200759BAF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63986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>
            <a:extLst>
              <a:ext uri="{FF2B5EF4-FFF2-40B4-BE49-F238E27FC236}">
                <a16:creationId xmlns:a16="http://schemas.microsoft.com/office/drawing/2014/main" id="{8D38E64F-2A6F-4B83-91AB-86F1344F3F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29383" y="1203326"/>
            <a:ext cx="4391735" cy="3429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endParaRPr lang="en-US" b="1" dirty="0"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C25AE3-EE9A-41B5-A0DD-17297282E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500" y="366712"/>
            <a:ext cx="7558852" cy="628650"/>
          </a:xfrm>
        </p:spPr>
        <p:txBody>
          <a:bodyPr/>
          <a:lstStyle/>
          <a:p>
            <a:r>
              <a:rPr lang="en-GB" dirty="0"/>
              <a:t>Horizontal and Vertical Scaling of Container-based Applications using Reinforcement Learning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7FDE06-D8B0-43E7-89E2-81906D7736C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500" y="1203326"/>
            <a:ext cx="4391735" cy="3429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just">
              <a:buClrTx/>
              <a:buSzPct val="100000"/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Idea: </a:t>
            </a:r>
            <a:r>
              <a:rPr lang="en-US" b="0" dirty="0">
                <a:latin typeface="Arial" panose="020B0604020202020204" pitchFamily="34" charset="0"/>
              </a:rPr>
              <a:t>use </a:t>
            </a:r>
            <a:r>
              <a:rPr lang="en-US" b="0" u="sng" dirty="0">
                <a:latin typeface="Arial" panose="020B0604020202020204" pitchFamily="34" charset="0"/>
              </a:rPr>
              <a:t>model-based</a:t>
            </a:r>
            <a:r>
              <a:rPr lang="en-US" dirty="0">
                <a:latin typeface="Arial" panose="020B0604020202020204" pitchFamily="34" charset="0"/>
              </a:rPr>
              <a:t> reinforcement learning 	     (rf) to reduce learning phase</a:t>
            </a:r>
          </a:p>
          <a:p>
            <a:pPr marL="0" lvl="1" indent="0">
              <a:buClrTx/>
              <a:buSzPct val="100000"/>
              <a:buNone/>
            </a:pPr>
            <a:endParaRPr lang="en-US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Implemented capabilities in Docker Swarm with Elastic Docker Sawm (EDS)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5-action vs. 9-action model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Compared to Q-learning and Dyna-Q reinforcement approaches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Replaced unknown transition probabilities and unknown cost function with </a:t>
            </a:r>
            <a:r>
              <a:rPr lang="en-US" u="sng" dirty="0">
                <a:latin typeface="Arial" panose="020B0604020202020204" pitchFamily="34" charset="0"/>
              </a:rPr>
              <a:t>empirical estimates</a:t>
            </a:r>
          </a:p>
          <a:p>
            <a:pPr lvl="2">
              <a:buClrTx/>
              <a:buSzPct val="100000"/>
            </a:pPr>
            <a:endParaRPr lang="en-US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1C4F39-77FC-4BFD-B2B1-52BBB7CD066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63" r="2544"/>
          <a:stretch/>
        </p:blipFill>
        <p:spPr>
          <a:xfrm>
            <a:off x="4727128" y="1779662"/>
            <a:ext cx="4176464" cy="200735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EEDB692-7053-4B62-9D01-F6B63865ADA6}"/>
              </a:ext>
            </a:extLst>
          </p:cNvPr>
          <p:cNvSpPr txBox="1"/>
          <p:nvPr/>
        </p:nvSpPr>
        <p:spPr>
          <a:xfrm>
            <a:off x="5205070" y="3949236"/>
            <a:ext cx="32403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M</a:t>
            </a:r>
            <a:r>
              <a:rPr lang="en-US" dirty="0"/>
              <a:t>onitor </a:t>
            </a:r>
            <a:r>
              <a:rPr lang="en-US" dirty="0">
                <a:solidFill>
                  <a:srgbClr val="C00000"/>
                </a:solidFill>
              </a:rPr>
              <a:t>A</a:t>
            </a:r>
            <a:r>
              <a:rPr lang="en-US" dirty="0"/>
              <a:t>nalyze </a:t>
            </a:r>
            <a:r>
              <a:rPr lang="en-US" dirty="0">
                <a:solidFill>
                  <a:srgbClr val="C00000"/>
                </a:solidFill>
              </a:rPr>
              <a:t>P</a:t>
            </a:r>
            <a:r>
              <a:rPr lang="en-US" dirty="0"/>
              <a:t>lan </a:t>
            </a:r>
            <a:r>
              <a:rPr lang="en-US" dirty="0">
                <a:solidFill>
                  <a:srgbClr val="C00000"/>
                </a:solidFill>
              </a:rPr>
              <a:t>E</a:t>
            </a:r>
            <a:r>
              <a:rPr lang="en-US" dirty="0"/>
              <a:t>xecute control loop</a:t>
            </a:r>
          </a:p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F6D371-321B-44F8-857F-4D2BB4C58345}"/>
              </a:ext>
            </a:extLst>
          </p:cNvPr>
          <p:cNvSpPr/>
          <p:nvPr/>
        </p:nvSpPr>
        <p:spPr>
          <a:xfrm>
            <a:off x="8055832" y="4429280"/>
            <a:ext cx="102143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it-IT" sz="800" dirty="0"/>
              <a:t>Rossi et al. (2019)</a:t>
            </a:r>
          </a:p>
        </p:txBody>
      </p:sp>
    </p:spTree>
    <p:extLst>
      <p:ext uri="{BB962C8B-B14F-4D97-AF65-F5344CB8AC3E}">
        <p14:creationId xmlns:p14="http://schemas.microsoft.com/office/powerpoint/2010/main" val="28600488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3">
                <a:extLst>
                  <a:ext uri="{FF2B5EF4-FFF2-40B4-BE49-F238E27FC236}">
                    <a16:creationId xmlns:a16="http://schemas.microsoft.com/office/drawing/2014/main" id="{938180AA-FA30-4D0B-A030-361799B7DB8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179388" y="1559268"/>
                <a:ext cx="4318262" cy="3199213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90011" tIns="108014" rIns="90011" bIns="46806" numCol="1" anchor="t" anchorCtr="0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ct val="30000"/>
                  </a:spcBef>
                  <a:spcAft>
                    <a:spcPct val="20000"/>
                  </a:spcAft>
                  <a:buClr>
                    <a:schemeClr val="accent2"/>
                  </a:buClr>
                  <a:buFont typeface="Wingdings" pitchFamily="2" charset="2"/>
                  <a:tabLst>
                    <a:tab pos="266700" algn="l"/>
                    <a:tab pos="631825" algn="l"/>
                    <a:tab pos="981075" algn="l"/>
                  </a:tabLst>
                  <a:defRPr sz="1600" b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032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064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096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8128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12700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7272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844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6416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>
                  <a:buClrTx/>
                  <a:buSzPct val="100000"/>
                  <a:buFont typeface="Wingdings" panose="05000000000000000000" pitchFamily="2" charset="2"/>
                  <a:buChar char="§"/>
                </a:pPr>
                <a:r>
                  <a:rPr lang="en-US" dirty="0">
                    <a:latin typeface="Arial" panose="020B0604020202020204" pitchFamily="34" charset="0"/>
                  </a:rPr>
                  <a:t>Often changes application deployment</a:t>
                </a:r>
              </a:p>
              <a:p>
                <a:pPr lvl="1">
                  <a:buClrTx/>
                  <a:buSzPct val="100000"/>
                  <a:buFont typeface="Wingdings" panose="05000000000000000000" pitchFamily="2" charset="2"/>
                  <a:buChar char="§"/>
                </a:pPr>
                <a:r>
                  <a:rPr lang="en-US" b="0" dirty="0">
                    <a:latin typeface="Arial" panose="020B0604020202020204" pitchFamily="34" charset="0"/>
                  </a:rPr>
                  <a:t>Exceed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𝑎𝑥</m:t>
                        </m:r>
                      </m:sub>
                    </m:sSub>
                  </m:oMath>
                </a14:m>
                <a:r>
                  <a:rPr lang="en-US" b="0" dirty="0">
                    <a:latin typeface="Arial" panose="020B0604020202020204" pitchFamily="34" charset="0"/>
                  </a:rPr>
                  <a:t> more often (30%)</a:t>
                </a:r>
              </a:p>
              <a:p>
                <a:pPr lvl="1">
                  <a:buClrTx/>
                  <a:buSzPct val="100000"/>
                  <a:buFont typeface="Wingdings" panose="05000000000000000000" pitchFamily="2" charset="2"/>
                  <a:buChar char="§"/>
                </a:pPr>
                <a:r>
                  <a:rPr lang="en-US" dirty="0">
                    <a:latin typeface="Arial" panose="020B0604020202020204" pitchFamily="34" charset="0"/>
                  </a:rPr>
                  <a:t>Deploys fewer big containers with more CPU usage (Ø 1.7 containers with 89% of CPU)</a:t>
                </a:r>
                <a:endParaRPr lang="en-US" b="0" dirty="0"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0" name="Rectangle 3">
                <a:extLst>
                  <a:ext uri="{FF2B5EF4-FFF2-40B4-BE49-F238E27FC236}">
                    <a16:creationId xmlns:a16="http://schemas.microsoft.com/office/drawing/2014/main" id="{938180AA-FA30-4D0B-A030-361799B7DB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179388" y="1559268"/>
                <a:ext cx="4318262" cy="3199213"/>
              </a:xfrm>
              <a:prstGeom prst="rect">
                <a:avLst/>
              </a:prstGeom>
              <a:blipFill>
                <a:blip r:embed="rId8"/>
                <a:stretch>
                  <a:fillRect l="-293"/>
                </a:stretch>
              </a:blip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>
            <a:extLst>
              <a:ext uri="{FF2B5EF4-FFF2-40B4-BE49-F238E27FC236}">
                <a16:creationId xmlns:a16="http://schemas.microsoft.com/office/drawing/2014/main" id="{F2FCE609-9C72-493F-BB32-9B600DBDB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500" y="366712"/>
            <a:ext cx="7558852" cy="628650"/>
          </a:xfrm>
        </p:spPr>
        <p:txBody>
          <a:bodyPr/>
          <a:lstStyle/>
          <a:p>
            <a:r>
              <a:rPr lang="en-GB" dirty="0"/>
              <a:t>Horizontal and Vertical Scaling of Container-based Applications using Reinforcement Learning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8F91D0-1230-4E51-AF8C-570DC1AFD80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50000" b="17062"/>
          <a:stretch/>
        </p:blipFill>
        <p:spPr>
          <a:xfrm>
            <a:off x="1384495" y="2848555"/>
            <a:ext cx="3064507" cy="189869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3">
                <a:extLst>
                  <a:ext uri="{FF2B5EF4-FFF2-40B4-BE49-F238E27FC236}">
                    <a16:creationId xmlns:a16="http://schemas.microsoft.com/office/drawing/2014/main" id="{C77B3DF1-9D87-4C87-93D8-2DE326EE4F7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4647937" y="1559269"/>
                <a:ext cx="4318262" cy="319921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90011" tIns="108014" rIns="90011" bIns="46806" numCol="1" anchor="t" anchorCtr="0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ct val="30000"/>
                  </a:spcBef>
                  <a:spcAft>
                    <a:spcPct val="20000"/>
                  </a:spcAft>
                  <a:buClr>
                    <a:schemeClr val="accent2"/>
                  </a:buClr>
                  <a:buFont typeface="Wingdings" pitchFamily="2" charset="2"/>
                  <a:tabLst>
                    <a:tab pos="266700" algn="l"/>
                    <a:tab pos="631825" algn="l"/>
                    <a:tab pos="981075" algn="l"/>
                  </a:tabLst>
                  <a:defRPr sz="1600" b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032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064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096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8128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12700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7272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844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6416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>
                  <a:buClrTx/>
                  <a:buSzPct val="100000"/>
                  <a:buFont typeface="Wingdings" panose="05000000000000000000" pitchFamily="2" charset="2"/>
                  <a:buChar char="§"/>
                </a:pPr>
                <a:r>
                  <a:rPr lang="en-US" b="0" dirty="0">
                    <a:latin typeface="Arial" panose="020B0604020202020204" pitchFamily="34" charset="0"/>
                  </a:rPr>
                  <a:t>Stable application deployment</a:t>
                </a:r>
              </a:p>
              <a:p>
                <a:pPr lvl="1">
                  <a:buClrTx/>
                  <a:buSzPct val="100000"/>
                </a:pPr>
                <a:r>
                  <a:rPr lang="en-US" dirty="0">
                    <a:latin typeface="Arial" panose="020B0604020202020204" pitchFamily="34" charset="0"/>
                  </a:rPr>
                  <a:t>More than halv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𝑚𝑎𝑥</m:t>
                        </m:r>
                      </m:sub>
                    </m:sSub>
                  </m:oMath>
                </a14:m>
                <a:r>
                  <a:rPr lang="en-US" b="0" dirty="0">
                    <a:latin typeface="Arial" panose="020B0604020202020204" pitchFamily="34" charset="0"/>
                  </a:rPr>
                  <a:t> </a:t>
                </a:r>
                <a:r>
                  <a:rPr lang="en-US" dirty="0">
                    <a:latin typeface="Arial" panose="020B0604020202020204" pitchFamily="34" charset="0"/>
                  </a:rPr>
                  <a:t>exceed</a:t>
                </a:r>
                <a:r>
                  <a:rPr lang="en-US" b="0" dirty="0">
                    <a:latin typeface="Arial" panose="020B0604020202020204" pitchFamily="34" charset="0"/>
                  </a:rPr>
                  <a:t> (12%)</a:t>
                </a:r>
              </a:p>
              <a:p>
                <a:pPr lvl="1">
                  <a:buClrTx/>
                  <a:buSzPct val="100000"/>
                </a:pPr>
                <a:r>
                  <a:rPr lang="en-US" b="0" dirty="0">
                    <a:latin typeface="Arial" panose="020B0604020202020204" pitchFamily="34" charset="0"/>
                  </a:rPr>
                  <a:t>Deploys more medium containers with lower CPU usage (</a:t>
                </a:r>
                <a:r>
                  <a:rPr lang="en-US" dirty="0">
                    <a:latin typeface="Arial" panose="020B0604020202020204" pitchFamily="34" charset="0"/>
                  </a:rPr>
                  <a:t>Ø </a:t>
                </a:r>
                <a:r>
                  <a:rPr lang="en-US" b="0" dirty="0">
                    <a:latin typeface="Arial" panose="020B0604020202020204" pitchFamily="34" charset="0"/>
                  </a:rPr>
                  <a:t>5.11 container with 47% CPU)</a:t>
                </a:r>
              </a:p>
              <a:p>
                <a:pPr lvl="1">
                  <a:buClrTx/>
                  <a:buSzPct val="100000"/>
                  <a:buFont typeface="Wingdings" panose="05000000000000000000" pitchFamily="2" charset="2"/>
                  <a:buChar char="§"/>
                </a:pPr>
                <a:endParaRPr lang="en-US" b="0" dirty="0"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Rectangle 3">
                <a:extLst>
                  <a:ext uri="{FF2B5EF4-FFF2-40B4-BE49-F238E27FC236}">
                    <a16:creationId xmlns:a16="http://schemas.microsoft.com/office/drawing/2014/main" id="{C77B3DF1-9D87-4C87-93D8-2DE326EE4F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647937" y="1559269"/>
                <a:ext cx="4318262" cy="3199211"/>
              </a:xfrm>
              <a:prstGeom prst="rect">
                <a:avLst/>
              </a:prstGeom>
              <a:blipFill>
                <a:blip r:embed="rId11"/>
                <a:stretch>
                  <a:fillRect l="-587"/>
                </a:stretch>
              </a:blip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hteck 13">
            <a:extLst>
              <a:ext uri="{FF2B5EF4-FFF2-40B4-BE49-F238E27FC236}">
                <a16:creationId xmlns:a16="http://schemas.microsoft.com/office/drawing/2014/main" id="{E01A9A77-75C7-41CC-B330-DB6C9F6CEDD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647937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Model-based RF</a:t>
            </a:r>
          </a:p>
        </p:txBody>
      </p:sp>
      <p:sp>
        <p:nvSpPr>
          <p:cNvPr id="12" name="Rechteck 12">
            <a:extLst>
              <a:ext uri="{FF2B5EF4-FFF2-40B4-BE49-F238E27FC236}">
                <a16:creationId xmlns:a16="http://schemas.microsoft.com/office/drawing/2014/main" id="{46744A8C-B559-4CD6-B69C-9FB5EBFD0B6A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79388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Q-learning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575295-AA21-47CC-9814-CEFEFB2C7B5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9835" t="418" r="193" b="16644"/>
          <a:stretch/>
        </p:blipFill>
        <p:spPr>
          <a:xfrm>
            <a:off x="5911892" y="2848555"/>
            <a:ext cx="3037497" cy="18987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15323F1-85E9-403A-B68E-FD7AD364CFBC}"/>
              </a:ext>
            </a:extLst>
          </p:cNvPr>
          <p:cNvSpPr/>
          <p:nvPr/>
        </p:nvSpPr>
        <p:spPr>
          <a:xfrm>
            <a:off x="8055832" y="4588554"/>
            <a:ext cx="102143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it-IT" sz="800" dirty="0"/>
              <a:t>Rossi et al. (2019)</a:t>
            </a:r>
          </a:p>
        </p:txBody>
      </p:sp>
    </p:spTree>
    <p:extLst>
      <p:ext uri="{BB962C8B-B14F-4D97-AF65-F5344CB8AC3E}">
        <p14:creationId xmlns:p14="http://schemas.microsoft.com/office/powerpoint/2010/main" val="1334319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F5B892C0-BE8A-456A-9A35-5D6C52F027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CEC39A7F-1385-42B8-A002-6F8857109B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5C64EC57-BE34-47E3-99BC-D12261990B2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602A2E9A-955D-44E7-87B4-7DD84B34276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6B79D3BD-ECBD-418A-98F1-B65DD2FFC9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A836796D-E528-42D6-B0FB-FCE22094028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5C66408-063B-437E-8E32-DDC9DF794EC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98222" y="3194658"/>
            <a:ext cx="8067977" cy="442000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8B65AC95-7006-44E0-AA56-96BB90152FB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5</a:t>
            </a:r>
          </a:p>
        </p:txBody>
      </p:sp>
      <p:sp>
        <p:nvSpPr>
          <p:cNvPr id="40" name="Rectangle 39">
            <a:hlinkClick r:id="rId29" action="ppaction://hlinksldjump"/>
            <a:extLst>
              <a:ext uri="{FF2B5EF4-FFF2-40B4-BE49-F238E27FC236}">
                <a16:creationId xmlns:a16="http://schemas.microsoft.com/office/drawing/2014/main" id="{17A6E246-AC4C-4FC9-AF16-A3D2480EA74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75055" y="3194658"/>
            <a:ext cx="5362809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Performance Analysis of Vertical Scal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9" name="Oval 38">
            <a:hlinkClick r:id="rId29" action="ppaction://hlinksldjump"/>
            <a:extLst>
              <a:ext uri="{FF2B5EF4-FFF2-40B4-BE49-F238E27FC236}">
                <a16:creationId xmlns:a16="http://schemas.microsoft.com/office/drawing/2014/main" id="{B9B02CF6-9154-4CA2-87E0-24E481BA8D1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677221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4858030F-DB48-4231-9D59-5BC4F261B44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2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36">
            <a:hlinkClick r:id="rId30" action="ppaction://hlinksldjump"/>
            <a:extLst>
              <a:ext uri="{FF2B5EF4-FFF2-40B4-BE49-F238E27FC236}">
                <a16:creationId xmlns:a16="http://schemas.microsoft.com/office/drawing/2014/main" id="{D33D3AB3-9EEC-4E23-81F3-135EE22BE3B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Horizontal and Vertical Scaling using Reinforcement Learn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6" name="Oval 35">
            <a:hlinkClick r:id="rId30" action="ppaction://hlinksldjump"/>
            <a:extLst>
              <a:ext uri="{FF2B5EF4-FFF2-40B4-BE49-F238E27FC236}">
                <a16:creationId xmlns:a16="http://schemas.microsoft.com/office/drawing/2014/main" id="{86F0884C-F520-4DE5-B280-E70C5E65684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E2863C55-C118-40F4-87E6-D61A23BD455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>
            <a:hlinkClick r:id="rId31" action="ppaction://hlinksldjump"/>
            <a:extLst>
              <a:ext uri="{FF2B5EF4-FFF2-40B4-BE49-F238E27FC236}">
                <a16:creationId xmlns:a16="http://schemas.microsoft.com/office/drawing/2014/main" id="{051AD9F1-1F33-4F19-B79C-BEE60BAA239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33" name="Oval 32">
            <a:hlinkClick r:id="rId31" action="ppaction://hlinksldjump"/>
            <a:extLst>
              <a:ext uri="{FF2B5EF4-FFF2-40B4-BE49-F238E27FC236}">
                <a16:creationId xmlns:a16="http://schemas.microsoft.com/office/drawing/2014/main" id="{E40D0668-582D-4DE0-93E8-6CC37EA07AB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A71CA991-0572-4163-8ADD-CE89DB863584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A641DCF2-7DC1-4067-AED7-F6A1DFD4DB0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228B9EFD-AFC0-4E98-A7A1-AF36B2FFE59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159D8E88-FDBE-4CEF-AC94-ED8C9226584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0311023E-75F3-4A41-BE8F-DC504E61704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E14886DF-116B-472A-83C0-E29402094602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37E9CED7-E38C-48FB-A76B-C5FEB6BCF90F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54656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AD2AC9B-27E3-4EAE-A6B8-DD9196006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500" y="366712"/>
            <a:ext cx="7558852" cy="628650"/>
          </a:xfrm>
        </p:spPr>
        <p:txBody>
          <a:bodyPr/>
          <a:lstStyle/>
          <a:p>
            <a:r>
              <a:rPr lang="en-GB" dirty="0"/>
              <a:t>Performance Analysis of the Impact of Vertical Scaling on Application Containerized with Docker</a:t>
            </a:r>
            <a:endParaRPr lang="en-US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AD94B11E-EA31-456B-950A-DF07D588E85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47937" y="1559269"/>
            <a:ext cx="4318262" cy="307305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  <a:buFont typeface="Wingdings" panose="05000000000000000000" pitchFamily="2" charset="2"/>
              <a:buChar char="à"/>
            </a:pPr>
            <a:r>
              <a:rPr lang="en-US" dirty="0">
                <a:latin typeface="Arial" panose="020B0604020202020204" pitchFamily="34" charset="0"/>
              </a:rPr>
              <a:t>No significant impact on latency and responds time </a:t>
            </a:r>
          </a:p>
          <a:p>
            <a:pPr lvl="1">
              <a:buClrTx/>
              <a:buSzPct val="100000"/>
              <a:buFont typeface="Wingdings" panose="05000000000000000000" pitchFamily="2" charset="2"/>
              <a:buChar char="à"/>
            </a:pPr>
            <a:r>
              <a:rPr lang="en-US" dirty="0">
                <a:latin typeface="Arial" panose="020B0604020202020204" pitchFamily="34" charset="0"/>
              </a:rPr>
              <a:t>No downtime because of Kubernetes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C6C5DBD0-F8D2-4825-B52C-C5323F0D4D7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1559269"/>
            <a:ext cx="4318262" cy="307305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ClrTx/>
              <a:buSzPct val="100000"/>
              <a:buNone/>
            </a:pPr>
            <a:r>
              <a:rPr lang="en-GB" b="1" dirty="0">
                <a:solidFill>
                  <a:srgbClr val="C00000"/>
                </a:solidFill>
                <a:latin typeface="Arial" panose="020B0604020202020204" pitchFamily="34" charset="0"/>
              </a:rPr>
              <a:t>Objective: </a:t>
            </a:r>
            <a:r>
              <a:rPr lang="en-GB" dirty="0">
                <a:latin typeface="Arial" panose="020B0604020202020204" pitchFamily="34" charset="0"/>
              </a:rPr>
              <a:t>evaluate the impact of vertical 			 scaling on performance</a:t>
            </a:r>
          </a:p>
          <a:p>
            <a:pPr marL="0" lvl="1" indent="0">
              <a:buClrTx/>
              <a:buSzPct val="100000"/>
              <a:buNone/>
            </a:pPr>
            <a:endParaRPr lang="en-GB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</a:pPr>
            <a:r>
              <a:rPr lang="en-GB" dirty="0">
                <a:latin typeface="Arial" panose="020B0604020202020204" pitchFamily="34" charset="0"/>
              </a:rPr>
              <a:t>Kubernetes on Amazon Web Services </a:t>
            </a:r>
          </a:p>
          <a:p>
            <a:pPr lvl="1">
              <a:buClrTx/>
              <a:buSzPct val="100000"/>
            </a:pPr>
            <a:r>
              <a:rPr lang="en-GB" dirty="0">
                <a:latin typeface="Arial" panose="020B0604020202020204" pitchFamily="34" charset="0"/>
              </a:rPr>
              <a:t>Manual scaling via “</a:t>
            </a:r>
            <a:r>
              <a:rPr lang="en-GB" u="sng" dirty="0">
                <a:latin typeface="Arial" panose="020B0604020202020204" pitchFamily="34" charset="0"/>
              </a:rPr>
              <a:t>Rolling Update</a:t>
            </a:r>
            <a:r>
              <a:rPr lang="en-GB" dirty="0">
                <a:latin typeface="Arial" panose="020B0604020202020204" pitchFamily="34" charset="0"/>
              </a:rPr>
              <a:t>”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“Apache JMeter” for web server testing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Metrics: latency &amp; responds time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Two scenarios with two different loads</a:t>
            </a:r>
          </a:p>
        </p:txBody>
      </p:sp>
      <p:sp>
        <p:nvSpPr>
          <p:cNvPr id="7" name="Rechteck 13">
            <a:extLst>
              <a:ext uri="{FF2B5EF4-FFF2-40B4-BE49-F238E27FC236}">
                <a16:creationId xmlns:a16="http://schemas.microsoft.com/office/drawing/2014/main" id="{8C92277F-8BB9-4798-9BAC-21C1C711303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647937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Results</a:t>
            </a: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6509FE20-5F5A-4D1D-BE71-41047C83DF6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79388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Analysi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532AFBA-96DC-436D-8EA9-E08F7B8EE08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74"/>
          <a:stretch/>
        </p:blipFill>
        <p:spPr>
          <a:xfrm>
            <a:off x="4675722" y="2217235"/>
            <a:ext cx="4262692" cy="24150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A65C8CB-80CE-4027-91CB-D6745E1445A5}"/>
              </a:ext>
            </a:extLst>
          </p:cNvPr>
          <p:cNvSpPr/>
          <p:nvPr/>
        </p:nvSpPr>
        <p:spPr>
          <a:xfrm>
            <a:off x="7956377" y="4621272"/>
            <a:ext cx="11175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it-IT" sz="800" dirty="0"/>
              <a:t>Midigudla, D. (2019)</a:t>
            </a:r>
          </a:p>
        </p:txBody>
      </p:sp>
    </p:spTree>
    <p:extLst>
      <p:ext uri="{BB962C8B-B14F-4D97-AF65-F5344CB8AC3E}">
        <p14:creationId xmlns:p14="http://schemas.microsoft.com/office/powerpoint/2010/main" val="23609771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hlinkClick r:id="rId21" action="ppaction://hlinksldjump"/>
            <a:extLst>
              <a:ext uri="{FF2B5EF4-FFF2-40B4-BE49-F238E27FC236}">
                <a16:creationId xmlns:a16="http://schemas.microsoft.com/office/drawing/2014/main" id="{EF9BB082-68A3-493A-A803-4C56BCBE83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angle 34">
            <a:hlinkClick r:id="rId21" action="ppaction://hlinksldjump"/>
            <a:extLst>
              <a:ext uri="{FF2B5EF4-FFF2-40B4-BE49-F238E27FC236}">
                <a16:creationId xmlns:a16="http://schemas.microsoft.com/office/drawing/2014/main" id="{2E9F7B3C-FEF6-4273-8CE4-75FA8EF13F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34" name="Oval 33">
            <a:hlinkClick r:id="rId21" action="ppaction://hlinksldjump"/>
            <a:extLst>
              <a:ext uri="{FF2B5EF4-FFF2-40B4-BE49-F238E27FC236}">
                <a16:creationId xmlns:a16="http://schemas.microsoft.com/office/drawing/2014/main" id="{81354B34-087E-46A7-90F5-DC5B411DC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7667C05-C951-44D0-8723-6F70A677CC4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0388" y="2696824"/>
            <a:ext cx="8565811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2" name="Rectangle 31">
            <a:hlinkClick r:id="rId22" action="ppaction://hlinksldjump"/>
            <a:extLst>
              <a:ext uri="{FF2B5EF4-FFF2-40B4-BE49-F238E27FC236}">
                <a16:creationId xmlns:a16="http://schemas.microsoft.com/office/drawing/2014/main" id="{3AB9BCD8-D9D1-49B6-A1DE-8EF06902066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31" name="Rectangle 30">
            <a:hlinkClick r:id="rId22" action="ppaction://hlinksldjump"/>
            <a:extLst>
              <a:ext uri="{FF2B5EF4-FFF2-40B4-BE49-F238E27FC236}">
                <a16:creationId xmlns:a16="http://schemas.microsoft.com/office/drawing/2014/main" id="{F5EB9EB4-9149-431C-8665-AC89D08F40E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77221" y="26968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30" name="Oval 29">
            <a:hlinkClick r:id="rId22" action="ppaction://hlinksldjump"/>
            <a:extLst>
              <a:ext uri="{FF2B5EF4-FFF2-40B4-BE49-F238E27FC236}">
                <a16:creationId xmlns:a16="http://schemas.microsoft.com/office/drawing/2014/main" id="{58917B6B-78A1-4916-89F8-9AF937747A7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79388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9" name="Rectangle 28">
            <a:hlinkClick r:id="rId23" action="ppaction://hlinksldjump"/>
            <a:extLst>
              <a:ext uri="{FF2B5EF4-FFF2-40B4-BE49-F238E27FC236}">
                <a16:creationId xmlns:a16="http://schemas.microsoft.com/office/drawing/2014/main" id="{CC8CE2A7-4BCA-4BAB-AFBB-F866FA0F58B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23" action="ppaction://hlinksldjump"/>
            <a:extLst>
              <a:ext uri="{FF2B5EF4-FFF2-40B4-BE49-F238E27FC236}">
                <a16:creationId xmlns:a16="http://schemas.microsoft.com/office/drawing/2014/main" id="{76C8E0F5-D932-4724-BEDC-3141EB649D4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27" name="Oval 26">
            <a:hlinkClick r:id="rId23" action="ppaction://hlinksldjump"/>
            <a:extLst>
              <a:ext uri="{FF2B5EF4-FFF2-40B4-BE49-F238E27FC236}">
                <a16:creationId xmlns:a16="http://schemas.microsoft.com/office/drawing/2014/main" id="{222C05C8-9581-45EC-AF4A-29FEF548D97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tangle 25">
            <a:hlinkClick r:id="rId24" action="ppaction://hlinksldjump"/>
            <a:extLst>
              <a:ext uri="{FF2B5EF4-FFF2-40B4-BE49-F238E27FC236}">
                <a16:creationId xmlns:a16="http://schemas.microsoft.com/office/drawing/2014/main" id="{BA387CB2-D55C-48D9-A738-9FB2C5C66A1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5" name="Rectangle 24">
            <a:hlinkClick r:id="rId24" action="ppaction://hlinksldjump"/>
            <a:extLst>
              <a:ext uri="{FF2B5EF4-FFF2-40B4-BE49-F238E27FC236}">
                <a16:creationId xmlns:a16="http://schemas.microsoft.com/office/drawing/2014/main" id="{19373C88-1D8C-42BF-9F40-6145C9F63EB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24" name="Oval 23">
            <a:hlinkClick r:id="rId24" action="ppaction://hlinksldjump"/>
            <a:extLst>
              <a:ext uri="{FF2B5EF4-FFF2-40B4-BE49-F238E27FC236}">
                <a16:creationId xmlns:a16="http://schemas.microsoft.com/office/drawing/2014/main" id="{3AAB53F4-7E13-4D29-B4D4-E6222CCDE8F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3" name="Rectangle 22">
            <a:hlinkClick r:id="rId25" action="ppaction://hlinksldjump"/>
            <a:extLst>
              <a:ext uri="{FF2B5EF4-FFF2-40B4-BE49-F238E27FC236}">
                <a16:creationId xmlns:a16="http://schemas.microsoft.com/office/drawing/2014/main" id="{D51B4C34-AD4C-4BAE-948D-3D647DC3C46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hlinkClick r:id="rId25" action="ppaction://hlinksldjump"/>
            <a:extLst>
              <a:ext uri="{FF2B5EF4-FFF2-40B4-BE49-F238E27FC236}">
                <a16:creationId xmlns:a16="http://schemas.microsoft.com/office/drawing/2014/main" id="{D87C7AA2-248D-45F5-8252-CFD8AFF1A40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1" name="Oval 20">
            <a:hlinkClick r:id="rId25" action="ppaction://hlinksldjump"/>
            <a:extLst>
              <a:ext uri="{FF2B5EF4-FFF2-40B4-BE49-F238E27FC236}">
                <a16:creationId xmlns:a16="http://schemas.microsoft.com/office/drawing/2014/main" id="{35C49D62-1E5A-4222-A8CE-C4A218EEFEC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CC732A2-CD08-453E-98AA-03DC45B58E99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5568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14B0AE-21D2-3547-8A02-BDFEED982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500" y="366712"/>
            <a:ext cx="6821383" cy="628650"/>
          </a:xfrm>
        </p:spPr>
        <p:txBody>
          <a:bodyPr wrap="square" anchor="ctr">
            <a:normAutofit/>
          </a:bodyPr>
          <a:lstStyle/>
          <a:p>
            <a:r>
              <a:rPr lang="de-DE" dirty="0" err="1"/>
              <a:t>Overview</a:t>
            </a:r>
            <a:r>
              <a:rPr lang="de-DE" dirty="0"/>
              <a:t> 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34A6FB2-F0CD-304F-BFCD-CE19DAE365FB}"/>
              </a:ext>
            </a:extLst>
          </p:cNvPr>
          <p:cNvGraphicFramePr>
            <a:graphicFrameLocks noGrp="1"/>
          </p:cNvGraphicFramePr>
          <p:nvPr>
            <p:ph idx="11"/>
          </p:nvPr>
        </p:nvGraphicFramePr>
        <p:xfrm>
          <a:off x="180975" y="1185863"/>
          <a:ext cx="8783638" cy="3359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Down Arrow 5">
            <a:extLst>
              <a:ext uri="{FF2B5EF4-FFF2-40B4-BE49-F238E27FC236}">
                <a16:creationId xmlns:a16="http://schemas.microsoft.com/office/drawing/2014/main" id="{F4D76B22-1689-C64E-A777-2B54AA86C625}"/>
              </a:ext>
            </a:extLst>
          </p:cNvPr>
          <p:cNvSpPr/>
          <p:nvPr/>
        </p:nvSpPr>
        <p:spPr>
          <a:xfrm>
            <a:off x="4319971" y="1752842"/>
            <a:ext cx="504056" cy="57606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DC677614-4BBB-E44A-A496-DC56983525A2}"/>
              </a:ext>
            </a:extLst>
          </p:cNvPr>
          <p:cNvSpPr/>
          <p:nvPr/>
        </p:nvSpPr>
        <p:spPr>
          <a:xfrm>
            <a:off x="4319971" y="2643758"/>
            <a:ext cx="504056" cy="57606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8" name="Left-Right Arrow 7">
            <a:extLst>
              <a:ext uri="{FF2B5EF4-FFF2-40B4-BE49-F238E27FC236}">
                <a16:creationId xmlns:a16="http://schemas.microsoft.com/office/drawing/2014/main" id="{50A980DD-BD09-BE44-B558-C4AA34E08FAC}"/>
              </a:ext>
            </a:extLst>
          </p:cNvPr>
          <p:cNvSpPr/>
          <p:nvPr/>
        </p:nvSpPr>
        <p:spPr>
          <a:xfrm rot="5400000">
            <a:off x="4238828" y="3471802"/>
            <a:ext cx="666342" cy="50405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D672AE-BB2E-A145-9216-FD45202FAC19}"/>
              </a:ext>
            </a:extLst>
          </p:cNvPr>
          <p:cNvSpPr txBox="1"/>
          <p:nvPr/>
        </p:nvSpPr>
        <p:spPr>
          <a:xfrm>
            <a:off x="5163052" y="2992231"/>
            <a:ext cx="38153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Observes</a:t>
            </a:r>
            <a:r>
              <a:rPr lang="de-DE" dirty="0"/>
              <a:t> &amp; </a:t>
            </a:r>
            <a:r>
              <a:rPr lang="de-DE" i="1" dirty="0" err="1"/>
              <a:t>scales</a:t>
            </a:r>
            <a:r>
              <a:rPr lang="de-DE" dirty="0"/>
              <a:t> </a:t>
            </a:r>
            <a:r>
              <a:rPr lang="de-DE" dirty="0" err="1"/>
              <a:t>microservices</a:t>
            </a:r>
            <a:r>
              <a:rPr lang="de-DE" dirty="0"/>
              <a:t> </a:t>
            </a:r>
          </a:p>
          <a:p>
            <a:r>
              <a:rPr lang="de-DE" dirty="0" err="1"/>
              <a:t>accor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model</a:t>
            </a:r>
            <a:endParaRPr lang="de-D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B42F3E-5FAB-A04A-8B80-5014B7A0A791}"/>
              </a:ext>
            </a:extLst>
          </p:cNvPr>
          <p:cNvSpPr txBox="1"/>
          <p:nvPr/>
        </p:nvSpPr>
        <p:spPr>
          <a:xfrm>
            <a:off x="5163052" y="3829063"/>
            <a:ext cx="29161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Executes</a:t>
            </a:r>
            <a:r>
              <a:rPr lang="de-DE" dirty="0"/>
              <a:t> </a:t>
            </a:r>
            <a:r>
              <a:rPr lang="de-DE" dirty="0" err="1"/>
              <a:t>command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</a:p>
          <a:p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script</a:t>
            </a:r>
            <a:endParaRPr lang="de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A4B88B-04DE-654C-9A39-CD0AAD95F45B}"/>
              </a:ext>
            </a:extLst>
          </p:cNvPr>
          <p:cNvSpPr txBox="1"/>
          <p:nvPr/>
        </p:nvSpPr>
        <p:spPr>
          <a:xfrm>
            <a:off x="5147688" y="2068804"/>
            <a:ext cx="31341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redicts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:</a:t>
            </a:r>
          </a:p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2210C8-4251-0044-ADD9-56E6EFF18978}"/>
              </a:ext>
            </a:extLst>
          </p:cNvPr>
          <p:cNvSpPr txBox="1"/>
          <p:nvPr/>
        </p:nvSpPr>
        <p:spPr>
          <a:xfrm>
            <a:off x="5147688" y="1205818"/>
            <a:ext cx="32752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Configures</a:t>
            </a:r>
            <a:r>
              <a:rPr lang="de-DE" dirty="0"/>
              <a:t>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</a:p>
          <a:p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environme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45522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9740E46-9314-E34E-A4C9-6579F2BD5F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585" y="1184707"/>
            <a:ext cx="3787189" cy="3430580"/>
          </a:xfrm>
          <a:noFill/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15F230A-E982-4773-9429-791EF41712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9512" y="1184707"/>
            <a:ext cx="3147109" cy="343058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nly interaction point for the us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figuration for performance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rocess overview via logg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7C829C-DA3A-6F4C-A741-00FDF7DE7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366712"/>
            <a:ext cx="6840000" cy="628650"/>
          </a:xfrm>
        </p:spPr>
        <p:txBody>
          <a:bodyPr wrap="square" anchor="ctr">
            <a:normAutofit/>
          </a:bodyPr>
          <a:lstStyle/>
          <a:p>
            <a:r>
              <a:rPr lang="de-DE" dirty="0"/>
              <a:t>GUI</a:t>
            </a:r>
          </a:p>
        </p:txBody>
      </p:sp>
    </p:spTree>
    <p:extLst>
      <p:ext uri="{BB962C8B-B14F-4D97-AF65-F5344CB8AC3E}">
        <p14:creationId xmlns:p14="http://schemas.microsoft.com/office/powerpoint/2010/main" val="1189749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30E7E2-B70A-43DD-AE08-0FFDB9B1B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andbox</a:t>
            </a:r>
          </a:p>
        </p:txBody>
      </p:sp>
      <p:pic>
        <p:nvPicPr>
          <p:cNvPr id="84" name="Inhaltsplatzhalter 83">
            <a:extLst>
              <a:ext uri="{FF2B5EF4-FFF2-40B4-BE49-F238E27FC236}">
                <a16:creationId xmlns:a16="http://schemas.microsoft.com/office/drawing/2014/main" id="{B7242FE4-674C-4E19-9B32-A27992FD5A05}"/>
              </a:ext>
            </a:extLst>
          </p:cNvPr>
          <p:cNvPicPr>
            <a:picLocks noGrp="1" noChangeAspect="1"/>
          </p:cNvPicPr>
          <p:nvPr>
            <p:ph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831" y="1185863"/>
            <a:ext cx="5967926" cy="3359150"/>
          </a:xfrm>
        </p:spPr>
      </p:pic>
    </p:spTree>
    <p:extLst>
      <p:ext uri="{BB962C8B-B14F-4D97-AF65-F5344CB8AC3E}">
        <p14:creationId xmlns:p14="http://schemas.microsoft.com/office/powerpoint/2010/main" val="3563955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CE5C7D5-1B85-6648-860B-54922C8EE9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872" y="1243543"/>
            <a:ext cx="5544616" cy="3312907"/>
          </a:xfrm>
          <a:noFill/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0185339-BCD1-4D99-88BB-603467B26B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9512" y="1184707"/>
            <a:ext cx="3147109" cy="343058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es load pattern generat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ython Script scales automatically</a:t>
            </a:r>
          </a:p>
          <a:p>
            <a:r>
              <a:rPr lang="en-US" dirty="0">
                <a:sym typeface="Wingdings" pitchFamily="2" charset="2"/>
              </a:rPr>
              <a:t> </a:t>
            </a:r>
            <a:r>
              <a:rPr lang="en-US" dirty="0"/>
              <a:t>Automatic proces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A7852E-76BC-4648-84A5-8A840B2893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366712"/>
            <a:ext cx="6840000" cy="628650"/>
          </a:xfrm>
        </p:spPr>
        <p:txBody>
          <a:bodyPr wrap="square" anchor="ctr">
            <a:normAutofit/>
          </a:bodyPr>
          <a:lstStyle/>
          <a:p>
            <a:r>
              <a:rPr lang="de-DE" dirty="0" err="1"/>
              <a:t>Machine</a:t>
            </a:r>
            <a:r>
              <a:rPr lang="de-DE" dirty="0"/>
              <a:t> Learning </a:t>
            </a:r>
            <a:r>
              <a:rPr lang="de-DE" dirty="0" err="1"/>
              <a:t>Overvie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27590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02D9ADA-EC98-4079-8832-C4090CC8A0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9512" y="1184707"/>
            <a:ext cx="3147109" cy="343058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Restricted to applications using </a:t>
            </a:r>
            <a:r>
              <a:rPr lang="en-US" sz="1800" b="1" dirty="0"/>
              <a:t>queues and files as inpu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Predicts not only the scaling strategy but also how much to sca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Possible learners:  bagging, boosting, and deep neural networks [5]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4E3B8C-7E3B-E146-8EF6-2174A8F3E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366712"/>
            <a:ext cx="6840000" cy="628650"/>
          </a:xfrm>
        </p:spPr>
        <p:txBody>
          <a:bodyPr wrap="square" anchor="ctr">
            <a:normAutofit/>
          </a:bodyPr>
          <a:lstStyle/>
          <a:p>
            <a:r>
              <a:rPr lang="de-DE" dirty="0" err="1"/>
              <a:t>Machine</a:t>
            </a:r>
            <a:r>
              <a:rPr lang="de-DE" dirty="0"/>
              <a:t> Learning</a:t>
            </a:r>
          </a:p>
        </p:txBody>
      </p:sp>
      <p:graphicFrame>
        <p:nvGraphicFramePr>
          <p:cNvPr id="6" name="Text Placeholder 2">
            <a:extLst>
              <a:ext uri="{FF2B5EF4-FFF2-40B4-BE49-F238E27FC236}">
                <a16:creationId xmlns:a16="http://schemas.microsoft.com/office/drawing/2014/main" id="{52B7E8E7-F8DB-45E7-8F59-7E246AFFA7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6809897"/>
              </p:ext>
            </p:extLst>
          </p:nvPr>
        </p:nvGraphicFramePr>
        <p:xfrm>
          <a:off x="3419872" y="1184707"/>
          <a:ext cx="5544616" cy="34305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574472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0520AC9F-FBE1-9E4A-85CC-750D88BB733C}"/>
              </a:ext>
            </a:extLst>
          </p:cNvPr>
          <p:cNvSpPr/>
          <p:nvPr/>
        </p:nvSpPr>
        <p:spPr>
          <a:xfrm>
            <a:off x="533495" y="1131044"/>
            <a:ext cx="2303587" cy="706602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C539EEF9-8951-C44C-9F04-E9EE8A632EA7}"/>
              </a:ext>
            </a:extLst>
          </p:cNvPr>
          <p:cNvSpPr/>
          <p:nvPr/>
        </p:nvSpPr>
        <p:spPr>
          <a:xfrm>
            <a:off x="536142" y="1865148"/>
            <a:ext cx="2303587" cy="706602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228A7A4-E214-2A42-819C-9A7AA1F932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7" t="3852" r="5714" b="7349"/>
          <a:stretch/>
        </p:blipFill>
        <p:spPr>
          <a:xfrm>
            <a:off x="3923928" y="1224759"/>
            <a:ext cx="5013056" cy="3501182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43F5DC0-08BA-E346-9F8B-BF232DD6B1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rol Script</a:t>
            </a:r>
          </a:p>
        </p:txBody>
      </p:sp>
      <p:sp>
        <p:nvSpPr>
          <p:cNvPr id="7" name="Rectangle 6" descr="Document">
            <a:extLst>
              <a:ext uri="{FF2B5EF4-FFF2-40B4-BE49-F238E27FC236}">
                <a16:creationId xmlns:a16="http://schemas.microsoft.com/office/drawing/2014/main" id="{1AB7477F-5E53-1C44-A155-49011C3AD483}"/>
              </a:ext>
            </a:extLst>
          </p:cNvPr>
          <p:cNvSpPr/>
          <p:nvPr/>
        </p:nvSpPr>
        <p:spPr>
          <a:xfrm>
            <a:off x="680158" y="2024133"/>
            <a:ext cx="388631" cy="388631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99C5785-950E-D84B-A103-BBF286739140}"/>
              </a:ext>
            </a:extLst>
          </p:cNvPr>
          <p:cNvGrpSpPr/>
          <p:nvPr/>
        </p:nvGrpSpPr>
        <p:grpSpPr>
          <a:xfrm>
            <a:off x="1068789" y="1913383"/>
            <a:ext cx="1796484" cy="658367"/>
            <a:chOff x="816125" y="1758757"/>
            <a:chExt cx="8082435" cy="71574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CAC0E7F-C969-324E-88D3-444B7D68B852}"/>
                </a:ext>
              </a:extLst>
            </p:cNvPr>
            <p:cNvSpPr/>
            <p:nvPr/>
          </p:nvSpPr>
          <p:spPr>
            <a:xfrm>
              <a:off x="816125" y="1767900"/>
              <a:ext cx="7967512" cy="70660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12B816C-8E1F-5047-98A5-709C809D0366}"/>
                </a:ext>
              </a:extLst>
            </p:cNvPr>
            <p:cNvSpPr txBox="1"/>
            <p:nvPr/>
          </p:nvSpPr>
          <p:spPr>
            <a:xfrm>
              <a:off x="931048" y="1758757"/>
              <a:ext cx="7967512" cy="7066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4782" tIns="74782" rIns="74782" bIns="74782" numCol="1" spcCol="1270" anchor="ctr" anchorCtr="0">
              <a:noAutofit/>
            </a:bodyPr>
            <a:lstStyle/>
            <a:p>
              <a:pPr marL="0" lvl="0" indent="0" algn="l" defTabSz="9779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Control Script</a:t>
              </a:r>
            </a:p>
          </p:txBody>
        </p:sp>
      </p:grp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95878CF-5EDF-6148-9306-05A8C0AB9C78}"/>
              </a:ext>
            </a:extLst>
          </p:cNvPr>
          <p:cNvCxnSpPr>
            <a:cxnSpLocks/>
            <a:stCxn id="13" idx="3"/>
          </p:cNvCxnSpPr>
          <p:nvPr/>
        </p:nvCxnSpPr>
        <p:spPr>
          <a:xfrm flipV="1">
            <a:off x="2865273" y="1814092"/>
            <a:ext cx="2164319" cy="42427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5193B77-42B3-FD42-9B0B-D02EBDB65701}"/>
              </a:ext>
            </a:extLst>
          </p:cNvPr>
          <p:cNvCxnSpPr>
            <a:cxnSpLocks/>
          </p:cNvCxnSpPr>
          <p:nvPr/>
        </p:nvCxnSpPr>
        <p:spPr>
          <a:xfrm flipV="1">
            <a:off x="4398084" y="1923678"/>
            <a:ext cx="651967" cy="1603986"/>
          </a:xfrm>
          <a:prstGeom prst="straightConnector1">
            <a:avLst/>
          </a:prstGeom>
          <a:ln w="28575" cap="flat" cmpd="sng" algn="ctr">
            <a:solidFill>
              <a:schemeClr val="accent2"/>
            </a:solidFill>
            <a:prstDash val="dash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1364AECF-228E-1042-8B08-FA862D482326}"/>
              </a:ext>
            </a:extLst>
          </p:cNvPr>
          <p:cNvSpPr txBox="1"/>
          <p:nvPr/>
        </p:nvSpPr>
        <p:spPr>
          <a:xfrm rot="20961082">
            <a:off x="2963346" y="1760607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chemeClr val="accent1"/>
                </a:solidFill>
              </a:rPr>
              <a:t>interacts</a:t>
            </a:r>
            <a:endParaRPr lang="de-DE" dirty="0">
              <a:solidFill>
                <a:schemeClr val="accent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78CAD9D-6D7B-2E4B-9DC2-938FC11A5E4D}"/>
              </a:ext>
            </a:extLst>
          </p:cNvPr>
          <p:cNvCxnSpPr>
            <a:cxnSpLocks/>
          </p:cNvCxnSpPr>
          <p:nvPr/>
        </p:nvCxnSpPr>
        <p:spPr>
          <a:xfrm flipV="1">
            <a:off x="5050051" y="1921793"/>
            <a:ext cx="105894" cy="1605871"/>
          </a:xfrm>
          <a:prstGeom prst="straightConnector1">
            <a:avLst/>
          </a:prstGeom>
          <a:ln w="28575" cap="flat" cmpd="sng" algn="ctr">
            <a:solidFill>
              <a:schemeClr val="accent2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93D0D3E8-521E-9943-AC40-3652391C2D0C}"/>
              </a:ext>
            </a:extLst>
          </p:cNvPr>
          <p:cNvSpPr txBox="1"/>
          <p:nvPr/>
        </p:nvSpPr>
        <p:spPr>
          <a:xfrm>
            <a:off x="4313947" y="2698347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1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91D0569-E143-E74C-B40A-377207E49510}"/>
              </a:ext>
            </a:extLst>
          </p:cNvPr>
          <p:cNvSpPr txBox="1"/>
          <p:nvPr/>
        </p:nvSpPr>
        <p:spPr>
          <a:xfrm>
            <a:off x="4778919" y="2694675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2.</a:t>
            </a:r>
          </a:p>
        </p:txBody>
      </p:sp>
      <p:pic>
        <p:nvPicPr>
          <p:cNvPr id="37" name="Graphic 36" descr="Research">
            <a:extLst>
              <a:ext uri="{FF2B5EF4-FFF2-40B4-BE49-F238E27FC236}">
                <a16:creationId xmlns:a16="http://schemas.microsoft.com/office/drawing/2014/main" id="{858A2DA4-04AE-7346-A0F9-94FA04CE8A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4310" y="1276780"/>
            <a:ext cx="424270" cy="42427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FD1FD29A-BC6A-C845-99B3-EB0FF3ACC6FF}"/>
              </a:ext>
            </a:extLst>
          </p:cNvPr>
          <p:cNvSpPr txBox="1"/>
          <p:nvPr/>
        </p:nvSpPr>
        <p:spPr>
          <a:xfrm>
            <a:off x="1093874" y="1159090"/>
            <a:ext cx="1770940" cy="64995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782" tIns="74782" rIns="74782" bIns="74782" numCol="1" spcCol="1270" anchor="ctr" anchorCtr="0">
            <a:noAutofit/>
          </a:bodyPr>
          <a:lstStyle/>
          <a:p>
            <a:pPr marL="0" lvl="0" indent="0" algn="l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Performance Model</a:t>
            </a:r>
          </a:p>
        </p:txBody>
      </p:sp>
      <p:sp>
        <p:nvSpPr>
          <p:cNvPr id="41" name="Down Arrow 40">
            <a:extLst>
              <a:ext uri="{FF2B5EF4-FFF2-40B4-BE49-F238E27FC236}">
                <a16:creationId xmlns:a16="http://schemas.microsoft.com/office/drawing/2014/main" id="{4EBEA180-90F2-7741-91DB-C9FB8C431D2E}"/>
              </a:ext>
            </a:extLst>
          </p:cNvPr>
          <p:cNvSpPr/>
          <p:nvPr/>
        </p:nvSpPr>
        <p:spPr>
          <a:xfrm>
            <a:off x="1469448" y="1702467"/>
            <a:ext cx="431680" cy="43865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A3C47ED-DE70-3C44-96D0-18007923F912}"/>
              </a:ext>
            </a:extLst>
          </p:cNvPr>
          <p:cNvSpPr txBox="1"/>
          <p:nvPr/>
        </p:nvSpPr>
        <p:spPr>
          <a:xfrm>
            <a:off x="395536" y="3266555"/>
            <a:ext cx="2797932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de-DE" dirty="0" err="1">
                <a:solidFill>
                  <a:schemeClr val="accent1"/>
                </a:solidFill>
              </a:rPr>
              <a:t>Scaling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 err="1">
                <a:solidFill>
                  <a:schemeClr val="accent1"/>
                </a:solidFill>
              </a:rPr>
              <a:t>commands</a:t>
            </a:r>
            <a:endParaRPr lang="de-DE" dirty="0">
              <a:solidFill>
                <a:schemeClr val="accent1"/>
              </a:solidFill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de-DE" dirty="0">
                <a:solidFill>
                  <a:schemeClr val="accent1"/>
                </a:solidFill>
              </a:rPr>
              <a:t>Performance </a:t>
            </a:r>
            <a:r>
              <a:rPr lang="de-DE" dirty="0" err="1">
                <a:solidFill>
                  <a:schemeClr val="accent1"/>
                </a:solidFill>
              </a:rPr>
              <a:t>data</a:t>
            </a:r>
            <a:endParaRPr lang="de-DE" dirty="0">
              <a:solidFill>
                <a:schemeClr val="accent1"/>
              </a:solidFill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de-DE" dirty="0">
                <a:solidFill>
                  <a:schemeClr val="accent1"/>
                </a:solidFill>
              </a:rPr>
              <a:t>Input </a:t>
            </a:r>
            <a:r>
              <a:rPr lang="de-DE" dirty="0" err="1">
                <a:solidFill>
                  <a:schemeClr val="accent1"/>
                </a:solidFill>
              </a:rPr>
              <a:t>information</a:t>
            </a:r>
            <a:endParaRPr lang="de-DE" dirty="0">
              <a:solidFill>
                <a:schemeClr val="accent1"/>
              </a:solidFill>
            </a:endParaRPr>
          </a:p>
          <a:p>
            <a:pPr marL="342900" indent="-342900">
              <a:buAutoNum type="arabicPeriod"/>
            </a:pPr>
            <a:endParaRPr lang="de-DE" dirty="0"/>
          </a:p>
        </p:txBody>
      </p:sp>
      <p:pic>
        <p:nvPicPr>
          <p:cNvPr id="8" name="Graphic 7" descr="Database">
            <a:extLst>
              <a:ext uri="{FF2B5EF4-FFF2-40B4-BE49-F238E27FC236}">
                <a16:creationId xmlns:a16="http://schemas.microsoft.com/office/drawing/2014/main" id="{65077C8A-EEAC-5043-BE77-91E2FB1582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2123" y="3797422"/>
            <a:ext cx="424271" cy="424271"/>
          </a:xfrm>
          <a:prstGeom prst="rect">
            <a:avLst/>
          </a:prstGeom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E5EB635-F6D7-0D42-BD79-B6D6E00D6FF2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2908978" y="2372328"/>
            <a:ext cx="1343145" cy="163723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4" name="Graphic 23" descr="Internet">
            <a:extLst>
              <a:ext uri="{FF2B5EF4-FFF2-40B4-BE49-F238E27FC236}">
                <a16:creationId xmlns:a16="http://schemas.microsoft.com/office/drawing/2014/main" id="{E640A560-0861-3C4F-A72A-C6D690F3AA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52795" y="3855920"/>
            <a:ext cx="299281" cy="299281"/>
          </a:xfrm>
          <a:prstGeom prst="rect">
            <a:avLst/>
          </a:prstGeom>
        </p:spPr>
      </p:pic>
      <p:pic>
        <p:nvPicPr>
          <p:cNvPr id="34" name="Graphic 33" descr="Internet">
            <a:extLst>
              <a:ext uri="{FF2B5EF4-FFF2-40B4-BE49-F238E27FC236}">
                <a16:creationId xmlns:a16="http://schemas.microsoft.com/office/drawing/2014/main" id="{F316DF94-D7D2-BE43-BB21-43C18F679CC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80112" y="3855919"/>
            <a:ext cx="299281" cy="299281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3FFAF63-3500-BC40-9387-3D1B0AA8F406}"/>
              </a:ext>
            </a:extLst>
          </p:cNvPr>
          <p:cNvSpPr txBox="1"/>
          <p:nvPr/>
        </p:nvSpPr>
        <p:spPr>
          <a:xfrm rot="3132425">
            <a:off x="3526991" y="2881617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2623778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F39A1820-D07E-4FFD-8408-4144F3F15B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0388" y="3194658"/>
            <a:ext cx="8565811" cy="442000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tangle 40">
            <a:hlinkClick r:id="rId21" action="ppaction://hlinksldjump"/>
            <a:extLst>
              <a:ext uri="{FF2B5EF4-FFF2-40B4-BE49-F238E27FC236}">
                <a16:creationId xmlns:a16="http://schemas.microsoft.com/office/drawing/2014/main" id="{A249CAC5-6281-4D33-9384-87F9988257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</a:p>
        </p:txBody>
      </p:sp>
      <p:sp>
        <p:nvSpPr>
          <p:cNvPr id="40" name="Rectangle 39">
            <a:hlinkClick r:id="rId21" action="ppaction://hlinksldjump"/>
            <a:extLst>
              <a:ext uri="{FF2B5EF4-FFF2-40B4-BE49-F238E27FC236}">
                <a16:creationId xmlns:a16="http://schemas.microsoft.com/office/drawing/2014/main" id="{E8ECFBFE-1D1F-4D3A-82D0-2BBAAF22750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39" name="Oval 38">
            <a:hlinkClick r:id="rId21" action="ppaction://hlinksldjump"/>
            <a:extLst>
              <a:ext uri="{FF2B5EF4-FFF2-40B4-BE49-F238E27FC236}">
                <a16:creationId xmlns:a16="http://schemas.microsoft.com/office/drawing/2014/main" id="{06C2EA68-5532-4D51-B865-81E71EAA15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8" name="Rectangle 37">
            <a:hlinkClick r:id="rId22" action="ppaction://hlinksldjump"/>
            <a:extLst>
              <a:ext uri="{FF2B5EF4-FFF2-40B4-BE49-F238E27FC236}">
                <a16:creationId xmlns:a16="http://schemas.microsoft.com/office/drawing/2014/main" id="{00278B74-394C-4664-AE5A-60D6F9E0A81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37" name="Rectangle 36">
            <a:hlinkClick r:id="rId22" action="ppaction://hlinksldjump"/>
            <a:extLst>
              <a:ext uri="{FF2B5EF4-FFF2-40B4-BE49-F238E27FC236}">
                <a16:creationId xmlns:a16="http://schemas.microsoft.com/office/drawing/2014/main" id="{E4C9D5FD-C0CA-448E-B2D2-25E38C98FBD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77221" y="26968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36" name="Oval 35">
            <a:hlinkClick r:id="rId22" action="ppaction://hlinksldjump"/>
            <a:extLst>
              <a:ext uri="{FF2B5EF4-FFF2-40B4-BE49-F238E27FC236}">
                <a16:creationId xmlns:a16="http://schemas.microsoft.com/office/drawing/2014/main" id="{3CE618C4-6B07-45FC-A8AB-6DEEE478377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79388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35" name="Rectangle 34">
            <a:hlinkClick r:id="rId23" action="ppaction://hlinksldjump"/>
            <a:extLst>
              <a:ext uri="{FF2B5EF4-FFF2-40B4-BE49-F238E27FC236}">
                <a16:creationId xmlns:a16="http://schemas.microsoft.com/office/drawing/2014/main" id="{8E0BF2D7-6C5E-4E6A-9431-8F0EF8ADEF8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</a:p>
        </p:txBody>
      </p:sp>
      <p:sp>
        <p:nvSpPr>
          <p:cNvPr id="34" name="Rectangle 33">
            <a:hlinkClick r:id="rId23" action="ppaction://hlinksldjump"/>
            <a:extLst>
              <a:ext uri="{FF2B5EF4-FFF2-40B4-BE49-F238E27FC236}">
                <a16:creationId xmlns:a16="http://schemas.microsoft.com/office/drawing/2014/main" id="{8A935AD6-212F-4A15-9C16-78F0C42DFB3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33" name="Oval 32">
            <a:hlinkClick r:id="rId23" action="ppaction://hlinksldjump"/>
            <a:extLst>
              <a:ext uri="{FF2B5EF4-FFF2-40B4-BE49-F238E27FC236}">
                <a16:creationId xmlns:a16="http://schemas.microsoft.com/office/drawing/2014/main" id="{FFEA7524-5D3F-40DE-BF55-7A81B03C2F4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2" name="Rectangle 31">
            <a:hlinkClick r:id="rId24" action="ppaction://hlinksldjump"/>
            <a:extLst>
              <a:ext uri="{FF2B5EF4-FFF2-40B4-BE49-F238E27FC236}">
                <a16:creationId xmlns:a16="http://schemas.microsoft.com/office/drawing/2014/main" id="{7367736E-DDE8-40CC-93EB-29E5F83C30A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31" name="Rectangle 30">
            <a:hlinkClick r:id="rId24" action="ppaction://hlinksldjump"/>
            <a:extLst>
              <a:ext uri="{FF2B5EF4-FFF2-40B4-BE49-F238E27FC236}">
                <a16:creationId xmlns:a16="http://schemas.microsoft.com/office/drawing/2014/main" id="{4BCF41A5-7EF2-4FD7-81CF-0F4606A52EB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24" action="ppaction://hlinksldjump"/>
            <a:extLst>
              <a:ext uri="{FF2B5EF4-FFF2-40B4-BE49-F238E27FC236}">
                <a16:creationId xmlns:a16="http://schemas.microsoft.com/office/drawing/2014/main" id="{DCB708E1-7795-4842-874B-6FAF90A53CF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25" action="ppaction://hlinksldjump"/>
            <a:extLst>
              <a:ext uri="{FF2B5EF4-FFF2-40B4-BE49-F238E27FC236}">
                <a16:creationId xmlns:a16="http://schemas.microsoft.com/office/drawing/2014/main" id="{32B278CD-49DC-4CC6-AE50-5193586968F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Rectangle 27">
            <a:hlinkClick r:id="rId25" action="ppaction://hlinksldjump"/>
            <a:extLst>
              <a:ext uri="{FF2B5EF4-FFF2-40B4-BE49-F238E27FC236}">
                <a16:creationId xmlns:a16="http://schemas.microsoft.com/office/drawing/2014/main" id="{4F2C8727-7CF2-4BAF-B26A-9C2B951F71A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25" action="ppaction://hlinksldjump"/>
            <a:extLst>
              <a:ext uri="{FF2B5EF4-FFF2-40B4-BE49-F238E27FC236}">
                <a16:creationId xmlns:a16="http://schemas.microsoft.com/office/drawing/2014/main" id="{B201DF41-D82C-417B-B406-8052BCE9F91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CBC5CD06-70A4-450D-8038-486B5400FB54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19781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3">
            <a:extLst>
              <a:ext uri="{FF2B5EF4-FFF2-40B4-BE49-F238E27FC236}">
                <a16:creationId xmlns:a16="http://schemas.microsoft.com/office/drawing/2014/main" id="{89687C1B-8198-41DB-9AB3-64136D4A0BA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47937" y="1559269"/>
            <a:ext cx="4318262" cy="307305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</a:pPr>
            <a:r>
              <a:rPr lang="en-US" b="0" dirty="0">
                <a:latin typeface="Arial" panose="020B0604020202020204" pitchFamily="34" charset="0"/>
              </a:rPr>
              <a:t>Web application: Python &amp; HTML/JavaScript</a:t>
            </a:r>
            <a:endParaRPr lang="en-US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</a:pPr>
            <a:r>
              <a:rPr lang="en-US" b="0" dirty="0">
                <a:latin typeface="Arial" panose="020B0604020202020204" pitchFamily="34" charset="0"/>
              </a:rPr>
              <a:t>Scans source code for </a:t>
            </a:r>
            <a:r>
              <a:rPr lang="en-US" dirty="0">
                <a:latin typeface="Arial" panose="020B0604020202020204" pitchFamily="34" charset="0"/>
              </a:rPr>
              <a:t>different information (e.g. copyrights, licenses or cryptography content) 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uses different scan engines (e.g. </a:t>
            </a:r>
            <a:r>
              <a:rPr lang="en-US" dirty="0" err="1">
                <a:latin typeface="Arial" panose="020B0604020202020204" pitchFamily="34" charset="0"/>
              </a:rPr>
              <a:t>ScanCode</a:t>
            </a:r>
            <a:r>
              <a:rPr lang="en-US" dirty="0">
                <a:latin typeface="Arial" panose="020B0604020202020204" pitchFamily="34" charset="0"/>
              </a:rPr>
              <a:t> toolkit, Crypto Detector)</a:t>
            </a:r>
          </a:p>
          <a:p>
            <a:pPr lvl="1">
              <a:buClrTx/>
              <a:buSzPct val="100000"/>
            </a:pPr>
            <a:r>
              <a:rPr lang="en-US" b="0" dirty="0">
                <a:latin typeface="Arial" panose="020B0604020202020204" pitchFamily="34" charset="0"/>
              </a:rPr>
              <a:t>Currently deployed as </a:t>
            </a:r>
            <a:r>
              <a:rPr lang="en-US" dirty="0">
                <a:latin typeface="Arial" panose="020B0604020202020204" pitchFamily="34" charset="0"/>
              </a:rPr>
              <a:t>Docker container on different servers 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Can profit from scaling</a:t>
            </a:r>
            <a:endParaRPr lang="en-US" b="0" dirty="0">
              <a:latin typeface="Arial" panose="020B0604020202020204" pitchFamily="34" charset="0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5F280318-FD49-42BD-83EC-EE089C387511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1559269"/>
            <a:ext cx="4318262" cy="307305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/>
              <a:t>Company: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stablished in 1969 in Darmstadt</a:t>
            </a: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Around 5.000 employees worldwide</a:t>
            </a: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nterprise software service provider</a:t>
            </a:r>
          </a:p>
          <a:p>
            <a:endParaRPr lang="en-GB" b="0" dirty="0"/>
          </a:p>
          <a:p>
            <a:r>
              <a:rPr lang="en-US" dirty="0"/>
              <a:t>Department: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echnical Alliances &amp; Compliance (TCA)</a:t>
            </a: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.g. Export Control, Licensing etc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8" name="Rechteck 13">
            <a:extLst>
              <a:ext uri="{FF2B5EF4-FFF2-40B4-BE49-F238E27FC236}">
                <a16:creationId xmlns:a16="http://schemas.microsoft.com/office/drawing/2014/main" id="{DE56B62B-63E1-41B1-A75B-49B6021C275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647937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err="1">
                <a:solidFill>
                  <a:schemeClr val="bg1"/>
                </a:solidFill>
              </a:rPr>
              <a:t>OctoScan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9" name="Rechteck 12">
            <a:extLst>
              <a:ext uri="{FF2B5EF4-FFF2-40B4-BE49-F238E27FC236}">
                <a16:creationId xmlns:a16="http://schemas.microsoft.com/office/drawing/2014/main" id="{459BEF31-0E5F-4B2F-B59F-ABA97C378A0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79388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solidFill>
                  <a:schemeClr val="bg1"/>
                </a:solidFill>
              </a:rPr>
              <a:t>Software AG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76BA087-D3CC-4619-A198-EE5B6DCF9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500" y="366712"/>
            <a:ext cx="6821383" cy="628650"/>
          </a:xfrm>
        </p:spPr>
        <p:txBody>
          <a:bodyPr/>
          <a:lstStyle/>
          <a:p>
            <a:r>
              <a:rPr lang="en-US"/>
              <a:t>Application Area</a:t>
            </a:r>
          </a:p>
        </p:txBody>
      </p:sp>
    </p:spTree>
    <p:extLst>
      <p:ext uri="{BB962C8B-B14F-4D97-AF65-F5344CB8AC3E}">
        <p14:creationId xmlns:p14="http://schemas.microsoft.com/office/powerpoint/2010/main" val="35281955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1AD59-4766-49BD-B07F-BCFF66BFF1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811" y="2760786"/>
            <a:ext cx="7378677" cy="1021557"/>
          </a:xfrm>
        </p:spPr>
        <p:txBody>
          <a:bodyPr/>
          <a:lstStyle/>
          <a:p>
            <a:r>
              <a:rPr lang="en-US"/>
              <a:t>Questions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C72C029-FB18-46E6-9FEE-CE9916BFAB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5811" y="1635646"/>
            <a:ext cx="7378677" cy="1125140"/>
          </a:xfrm>
        </p:spPr>
        <p:txBody>
          <a:bodyPr/>
          <a:lstStyle/>
          <a:p>
            <a:r>
              <a:rPr lang="en-US"/>
              <a:t>Thank you!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C041A48D-9CBA-429B-9725-61FDBBBE3A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131590"/>
            <a:ext cx="3579862" cy="357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6266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3C3EB-A6F5-40E0-95C5-DE32C1BE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urce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F241FF0-A7B2-4CE4-BDE7-78C45AA14CF4}"/>
              </a:ext>
            </a:extLst>
          </p:cNvPr>
          <p:cNvGraphicFramePr>
            <a:graphicFrameLocks noGrp="1"/>
          </p:cNvGraphicFramePr>
          <p:nvPr>
            <p:ph idx="11"/>
            <p:extLst>
              <p:ext uri="{D42A27DB-BD31-4B8C-83A1-F6EECF244321}">
                <p14:modId xmlns:p14="http://schemas.microsoft.com/office/powerpoint/2010/main" val="3581083718"/>
              </p:ext>
            </p:extLst>
          </p:nvPr>
        </p:nvGraphicFramePr>
        <p:xfrm>
          <a:off x="180975" y="1185863"/>
          <a:ext cx="8783638" cy="3322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02593">
                  <a:extLst>
                    <a:ext uri="{9D8B030D-6E8A-4147-A177-3AD203B41FA5}">
                      <a16:colId xmlns:a16="http://schemas.microsoft.com/office/drawing/2014/main" val="1116489123"/>
                    </a:ext>
                  </a:extLst>
                </a:gridCol>
                <a:gridCol w="8281045">
                  <a:extLst>
                    <a:ext uri="{9D8B030D-6E8A-4147-A177-3AD203B41FA5}">
                      <a16:colId xmlns:a16="http://schemas.microsoft.com/office/drawing/2014/main" val="2372793637"/>
                    </a:ext>
                  </a:extLst>
                </a:gridCol>
              </a:tblGrid>
              <a:tr h="449783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1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GB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ssi, F., Nardelli, M., &amp; </a:t>
                      </a:r>
                      <a:r>
                        <a:rPr lang="en-GB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rdellini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V. (2019, July). Horizontal and vertical scaling of container-based applications using reinforcement learning. In 2019 IEEE 12th International Conference on Cloud Computing (CLOUD) (pp. 329-338). IEEE.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3708829"/>
                  </a:ext>
                </a:extLst>
              </a:tr>
              <a:tr h="2846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2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GB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digudla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D. (2019). Performance Analysis of the Impact of Vertical Scaling on Application Containerized with Docker: Kubernetes on Amazon Web Services-EC2.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6141858"/>
                  </a:ext>
                </a:extLst>
              </a:tr>
              <a:tr h="2846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3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ubernetes.io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isited on 7/7/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2698955"/>
                  </a:ext>
                </a:extLst>
              </a:tr>
              <a:tr h="2846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4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arnk8s.io visited on 7/7/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0715060"/>
                  </a:ext>
                </a:extLst>
              </a:tr>
              <a:tr h="2846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5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lakar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P., </a:t>
                      </a: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laprakash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P., Vishwanath, V., Morozov, V., &amp; Kumaran, K. (2018, November). Benchmarking machine learning methods for performance modeling of scientific applications. In 2018 IEEE/ACM Performance Modeling, Benchmarking and Simulation of High Performance Computer Systems (PMBS) (pp. 33-44). IEEE.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6575765"/>
                  </a:ext>
                </a:extLst>
              </a:tr>
              <a:tr h="2846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6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, C., </a:t>
                      </a: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lheiros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R. N., &amp; </a:t>
                      </a: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yya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R. (2018). Auto-scaling web applications in clouds: A taxonomy and survey. ACM Computing Surveys (CSUR), 51(4), 1-33.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82755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6071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hlinkClick r:id="rId20" action="ppaction://hlinksldjump"/>
            <a:extLst>
              <a:ext uri="{FF2B5EF4-FFF2-40B4-BE49-F238E27FC236}">
                <a16:creationId xmlns:a16="http://schemas.microsoft.com/office/drawing/2014/main" id="{21CEDAA5-AE24-487D-B865-D6292A9B0BC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3" name="Rectangle 32">
            <a:hlinkClick r:id="rId20" action="ppaction://hlinksldjump"/>
            <a:extLst>
              <a:ext uri="{FF2B5EF4-FFF2-40B4-BE49-F238E27FC236}">
                <a16:creationId xmlns:a16="http://schemas.microsoft.com/office/drawing/2014/main" id="{D021783D-E6FD-4974-9C1B-0161DC23C55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32" name="Oval 31">
            <a:hlinkClick r:id="rId20" action="ppaction://hlinksldjump"/>
            <a:extLst>
              <a:ext uri="{FF2B5EF4-FFF2-40B4-BE49-F238E27FC236}">
                <a16:creationId xmlns:a16="http://schemas.microsoft.com/office/drawing/2014/main" id="{6972F7A9-D6C8-465B-8A7A-4CA69BA3A1A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1" name="Rectangle 30">
            <a:hlinkClick r:id="rId21" action="ppaction://hlinksldjump"/>
            <a:extLst>
              <a:ext uri="{FF2B5EF4-FFF2-40B4-BE49-F238E27FC236}">
                <a16:creationId xmlns:a16="http://schemas.microsoft.com/office/drawing/2014/main" id="{934D2177-2351-4CAE-8259-CC7EEF5D662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30" name="Rectangle 29">
            <a:hlinkClick r:id="rId21" action="ppaction://hlinksldjump"/>
            <a:extLst>
              <a:ext uri="{FF2B5EF4-FFF2-40B4-BE49-F238E27FC236}">
                <a16:creationId xmlns:a16="http://schemas.microsoft.com/office/drawing/2014/main" id="{85E02047-D5A8-48BD-978D-5FD096B73FE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26968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29" name="Oval 28">
            <a:hlinkClick r:id="rId21" action="ppaction://hlinksldjump"/>
            <a:extLst>
              <a:ext uri="{FF2B5EF4-FFF2-40B4-BE49-F238E27FC236}">
                <a16:creationId xmlns:a16="http://schemas.microsoft.com/office/drawing/2014/main" id="{D6261AA3-3810-410B-B9EE-F607D5FD900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Rectangle 27">
            <a:hlinkClick r:id="rId22" action="ppaction://hlinksldjump"/>
            <a:extLst>
              <a:ext uri="{FF2B5EF4-FFF2-40B4-BE49-F238E27FC236}">
                <a16:creationId xmlns:a16="http://schemas.microsoft.com/office/drawing/2014/main" id="{00B8226E-C255-4461-91C0-4752684B2FB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 26">
            <a:hlinkClick r:id="rId22" action="ppaction://hlinksldjump"/>
            <a:extLst>
              <a:ext uri="{FF2B5EF4-FFF2-40B4-BE49-F238E27FC236}">
                <a16:creationId xmlns:a16="http://schemas.microsoft.com/office/drawing/2014/main" id="{E0E3774C-FAFE-4330-88F3-647AB2E4935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26" name="Oval 25">
            <a:hlinkClick r:id="rId22" action="ppaction://hlinksldjump"/>
            <a:extLst>
              <a:ext uri="{FF2B5EF4-FFF2-40B4-BE49-F238E27FC236}">
                <a16:creationId xmlns:a16="http://schemas.microsoft.com/office/drawing/2014/main" id="{E323E4E1-7F18-45D1-B19A-7BDC71C094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5" name="Rectangle 24">
            <a:hlinkClick r:id="rId23" action="ppaction://hlinksldjump"/>
            <a:extLst>
              <a:ext uri="{FF2B5EF4-FFF2-40B4-BE49-F238E27FC236}">
                <a16:creationId xmlns:a16="http://schemas.microsoft.com/office/drawing/2014/main" id="{9691714D-B569-4129-949B-F15834D4612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4" name="Rectangle 23">
            <a:hlinkClick r:id="rId23" action="ppaction://hlinksldjump"/>
            <a:extLst>
              <a:ext uri="{FF2B5EF4-FFF2-40B4-BE49-F238E27FC236}">
                <a16:creationId xmlns:a16="http://schemas.microsoft.com/office/drawing/2014/main" id="{3674514A-0D68-4A37-A849-91E7D853300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23" name="Oval 22">
            <a:hlinkClick r:id="rId23" action="ppaction://hlinksldjump"/>
            <a:extLst>
              <a:ext uri="{FF2B5EF4-FFF2-40B4-BE49-F238E27FC236}">
                <a16:creationId xmlns:a16="http://schemas.microsoft.com/office/drawing/2014/main" id="{A89CE97B-B6EC-4EF0-A4E9-1A0DA40EF3A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2" name="Rectangle 21">
            <a:hlinkClick r:id="rId24" action="ppaction://hlinksldjump"/>
            <a:extLst>
              <a:ext uri="{FF2B5EF4-FFF2-40B4-BE49-F238E27FC236}">
                <a16:creationId xmlns:a16="http://schemas.microsoft.com/office/drawing/2014/main" id="{6503496D-8103-4926-817D-7D3F2248286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angle 20">
            <a:hlinkClick r:id="rId24" action="ppaction://hlinksldjump"/>
            <a:extLst>
              <a:ext uri="{FF2B5EF4-FFF2-40B4-BE49-F238E27FC236}">
                <a16:creationId xmlns:a16="http://schemas.microsoft.com/office/drawing/2014/main" id="{3E753CA9-BB18-4100-9B28-AE1B0627352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0" name="Oval 19">
            <a:hlinkClick r:id="rId24" action="ppaction://hlinksldjump"/>
            <a:extLst>
              <a:ext uri="{FF2B5EF4-FFF2-40B4-BE49-F238E27FC236}">
                <a16:creationId xmlns:a16="http://schemas.microsoft.com/office/drawing/2014/main" id="{1253544F-660D-476F-9C04-596950871E3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0D1040F5-0876-4126-9ECB-AF6D90E9A4B6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22955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hlinkClick r:id="rId21" action="ppaction://hlinksldjump"/>
            <a:extLst>
              <a:ext uri="{FF2B5EF4-FFF2-40B4-BE49-F238E27FC236}">
                <a16:creationId xmlns:a16="http://schemas.microsoft.com/office/drawing/2014/main" id="{57AB5E26-9306-44DA-A4AC-5BE276C1794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angle 34">
            <a:hlinkClick r:id="rId21" action="ppaction://hlinksldjump"/>
            <a:extLst>
              <a:ext uri="{FF2B5EF4-FFF2-40B4-BE49-F238E27FC236}">
                <a16:creationId xmlns:a16="http://schemas.microsoft.com/office/drawing/2014/main" id="{B225076E-B1BF-4E8F-A7AE-C51649F20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34" name="Oval 33">
            <a:hlinkClick r:id="rId21" action="ppaction://hlinksldjump"/>
            <a:extLst>
              <a:ext uri="{FF2B5EF4-FFF2-40B4-BE49-F238E27FC236}">
                <a16:creationId xmlns:a16="http://schemas.microsoft.com/office/drawing/2014/main" id="{3FA6FC15-29B7-425C-9E83-586D95F903D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3" name="Rectangle 32">
            <a:hlinkClick r:id="rId22" action="ppaction://hlinksldjump"/>
            <a:extLst>
              <a:ext uri="{FF2B5EF4-FFF2-40B4-BE49-F238E27FC236}">
                <a16:creationId xmlns:a16="http://schemas.microsoft.com/office/drawing/2014/main" id="{E52D84E1-1E10-47DD-8358-B1142AB304A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32" name="Rectangle 31">
            <a:hlinkClick r:id="rId22" action="ppaction://hlinksldjump"/>
            <a:extLst>
              <a:ext uri="{FF2B5EF4-FFF2-40B4-BE49-F238E27FC236}">
                <a16:creationId xmlns:a16="http://schemas.microsoft.com/office/drawing/2014/main" id="{3B440954-08CD-4325-877A-7797F22B3E8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26968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31" name="Oval 30">
            <a:hlinkClick r:id="rId22" action="ppaction://hlinksldjump"/>
            <a:extLst>
              <a:ext uri="{FF2B5EF4-FFF2-40B4-BE49-F238E27FC236}">
                <a16:creationId xmlns:a16="http://schemas.microsoft.com/office/drawing/2014/main" id="{3C6FC372-75FA-4350-9B7F-F28423DC00A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30" name="Rectangle 29">
            <a:hlinkClick r:id="rId23" action="ppaction://hlinksldjump"/>
            <a:extLst>
              <a:ext uri="{FF2B5EF4-FFF2-40B4-BE49-F238E27FC236}">
                <a16:creationId xmlns:a16="http://schemas.microsoft.com/office/drawing/2014/main" id="{7F18C049-15B5-48BA-B63D-D22FF6147ED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9" name="Rectangle 28">
            <a:hlinkClick r:id="rId23" action="ppaction://hlinksldjump"/>
            <a:extLst>
              <a:ext uri="{FF2B5EF4-FFF2-40B4-BE49-F238E27FC236}">
                <a16:creationId xmlns:a16="http://schemas.microsoft.com/office/drawing/2014/main" id="{5FCF3355-FA8A-4BDF-8563-40D714FC40E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28" name="Oval 27">
            <a:hlinkClick r:id="rId23" action="ppaction://hlinksldjump"/>
            <a:extLst>
              <a:ext uri="{FF2B5EF4-FFF2-40B4-BE49-F238E27FC236}">
                <a16:creationId xmlns:a16="http://schemas.microsoft.com/office/drawing/2014/main" id="{3988489D-9428-454F-A2A3-2824AE5C025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7" name="Rectangle 26">
            <a:hlinkClick r:id="rId24" action="ppaction://hlinksldjump"/>
            <a:extLst>
              <a:ext uri="{FF2B5EF4-FFF2-40B4-BE49-F238E27FC236}">
                <a16:creationId xmlns:a16="http://schemas.microsoft.com/office/drawing/2014/main" id="{14DB464F-B96F-4A69-B0B5-2C0E4526FCF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6" name="Rectangle 25">
            <a:hlinkClick r:id="rId24" action="ppaction://hlinksldjump"/>
            <a:extLst>
              <a:ext uri="{FF2B5EF4-FFF2-40B4-BE49-F238E27FC236}">
                <a16:creationId xmlns:a16="http://schemas.microsoft.com/office/drawing/2014/main" id="{3B6624CA-8CEA-4F46-92A9-EDFD0DEAB62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25" name="Oval 24">
            <a:hlinkClick r:id="rId24" action="ppaction://hlinksldjump"/>
            <a:extLst>
              <a:ext uri="{FF2B5EF4-FFF2-40B4-BE49-F238E27FC236}">
                <a16:creationId xmlns:a16="http://schemas.microsoft.com/office/drawing/2014/main" id="{3562AD9B-ABFD-4C2F-B1E5-CA9B5763243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0C8B958-E301-40CA-B14E-87908307496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00388" y="1203325"/>
            <a:ext cx="8565811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 22">
            <a:hlinkClick r:id="rId25" action="ppaction://hlinksldjump"/>
            <a:extLst>
              <a:ext uri="{FF2B5EF4-FFF2-40B4-BE49-F238E27FC236}">
                <a16:creationId xmlns:a16="http://schemas.microsoft.com/office/drawing/2014/main" id="{61894956-D21A-4357-8CAE-62C9DA1F0EC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hlinkClick r:id="rId25" action="ppaction://hlinksldjump"/>
            <a:extLst>
              <a:ext uri="{FF2B5EF4-FFF2-40B4-BE49-F238E27FC236}">
                <a16:creationId xmlns:a16="http://schemas.microsoft.com/office/drawing/2014/main" id="{7E410614-8C79-44D4-ACE6-01C9EC4FA74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1" name="Oval 20">
            <a:hlinkClick r:id="rId25" action="ppaction://hlinksldjump"/>
            <a:extLst>
              <a:ext uri="{FF2B5EF4-FFF2-40B4-BE49-F238E27FC236}">
                <a16:creationId xmlns:a16="http://schemas.microsoft.com/office/drawing/2014/main" id="{D86CD6BD-89ED-482F-BC6A-ABDF5DBA47D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4AB431D9-0648-4004-B7BB-337D4C3EEB04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95320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9CD60-9166-4D3F-9D37-75AD2389E3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5F76C7-2CBD-4A5E-9FD0-4128F26017E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0265" y="1203326"/>
            <a:ext cx="4391735" cy="3429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b="0" dirty="0">
                <a:latin typeface="Arial" panose="020B0604020202020204" pitchFamily="34" charset="0"/>
              </a:rPr>
              <a:t>Microservice architecture (splitting of applications) is gaining popularity</a:t>
            </a:r>
            <a:endParaRPr lang="en-US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Dynamic load on certain parts of the application</a:t>
            </a:r>
          </a:p>
          <a:p>
            <a:pPr lvl="1">
              <a:buClrTx/>
              <a:buSzPct val="100000"/>
              <a:buFont typeface="Wingdings" panose="05000000000000000000" pitchFamily="2" charset="2"/>
              <a:buChar char="à"/>
            </a:pPr>
            <a:r>
              <a:rPr lang="en-US" dirty="0">
                <a:latin typeface="Arial" panose="020B0604020202020204" pitchFamily="34" charset="0"/>
                <a:sym typeface="Wingdings" panose="05000000000000000000" pitchFamily="2" charset="2"/>
              </a:rPr>
              <a:t>Dynamic scale of resources</a:t>
            </a:r>
          </a:p>
          <a:p>
            <a:pPr lvl="3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Maintain performance</a:t>
            </a:r>
          </a:p>
          <a:p>
            <a:pPr lvl="3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No wastage of resources</a:t>
            </a:r>
          </a:p>
          <a:p>
            <a:pPr lvl="1">
              <a:buClrTx/>
              <a:buSzPct val="100000"/>
            </a:pPr>
            <a:endParaRPr lang="en-US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Newer technology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9EB2D6C-95C4-497C-98C6-36B009761B4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5438" r="7554"/>
          <a:stretch/>
        </p:blipFill>
        <p:spPr>
          <a:xfrm>
            <a:off x="4666700" y="1203326"/>
            <a:ext cx="4475313" cy="3429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6B96CFD-153D-4D10-B6B7-0094B26E6F6C}"/>
              </a:ext>
            </a:extLst>
          </p:cNvPr>
          <p:cNvSpPr txBox="1"/>
          <p:nvPr/>
        </p:nvSpPr>
        <p:spPr>
          <a:xfrm>
            <a:off x="5940152" y="4565438"/>
            <a:ext cx="31683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B5B5B5"/>
                </a:solidFill>
              </a:rPr>
              <a:t>Source: https://learnk8s.io/blog/scaling-spring-boot-microservices</a:t>
            </a:r>
            <a:endParaRPr lang="en-US" sz="800" dirty="0">
              <a:solidFill>
                <a:srgbClr val="B5B5B5"/>
              </a:solidFill>
            </a:endParaRPr>
          </a:p>
        </p:txBody>
      </p:sp>
      <p:sp>
        <p:nvSpPr>
          <p:cNvPr id="8" name="Rectangle 32">
            <a:extLst>
              <a:ext uri="{FF2B5EF4-FFF2-40B4-BE49-F238E27FC236}">
                <a16:creationId xmlns:a16="http://schemas.microsoft.com/office/drawing/2014/main" id="{EB3AEBB0-6D4B-574B-9526-18CE1988EC58}"/>
              </a:ext>
            </a:extLst>
          </p:cNvPr>
          <p:cNvSpPr/>
          <p:nvPr/>
        </p:nvSpPr>
        <p:spPr>
          <a:xfrm>
            <a:off x="85565" y="4624846"/>
            <a:ext cx="133882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/>
              <a:t>Alshuqayran</a:t>
            </a:r>
            <a:r>
              <a:rPr lang="it-IT" sz="800" dirty="0"/>
              <a:t> et al. (2016)</a:t>
            </a:r>
          </a:p>
        </p:txBody>
      </p:sp>
    </p:spTree>
    <p:extLst>
      <p:ext uri="{BB962C8B-B14F-4D97-AF65-F5344CB8AC3E}">
        <p14:creationId xmlns:p14="http://schemas.microsoft.com/office/powerpoint/2010/main" val="2820893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505C005F-7856-4B02-AD7D-0F8265ED26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559A927B-2091-4C5B-AEBE-A33982DE3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57C34FDD-D262-46A1-8CC8-1B916F056B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7078FECC-D5DB-4291-AF66-A552A572679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21FF8307-15B0-405C-8002-5A263F4622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Possible Approaches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041898C5-A188-4F5A-A8B5-D4BE4C6B916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hlinkClick r:id="rId29" action="ppaction://hlinksldjump"/>
            <a:extLst>
              <a:ext uri="{FF2B5EF4-FFF2-40B4-BE49-F238E27FC236}">
                <a16:creationId xmlns:a16="http://schemas.microsoft.com/office/drawing/2014/main" id="{7A0D0632-556C-4A41-A347-B2393A67FBD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B6FF3BB3-5D94-476C-97AF-B00C9B60319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40" name="Oval 39">
            <a:hlinkClick r:id="rId29" action="ppaction://hlinksldjump"/>
            <a:extLst>
              <a:ext uri="{FF2B5EF4-FFF2-40B4-BE49-F238E27FC236}">
                <a16:creationId xmlns:a16="http://schemas.microsoft.com/office/drawing/2014/main" id="{7679FCAF-1175-448D-A751-3F9874E2581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9" name="Rectangle 38">
            <a:hlinkClick r:id="rId30" action="ppaction://hlinksldjump"/>
            <a:extLst>
              <a:ext uri="{FF2B5EF4-FFF2-40B4-BE49-F238E27FC236}">
                <a16:creationId xmlns:a16="http://schemas.microsoft.com/office/drawing/2014/main" id="{8B466C5B-70FB-4D04-A41E-7B6F8701FBB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9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D4E5E621-3893-4EB1-8F58-FB7134D7C05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utoscaling</a:t>
            </a:r>
          </a:p>
        </p:txBody>
      </p:sp>
      <p:sp>
        <p:nvSpPr>
          <p:cNvPr id="37" name="Oval 36">
            <a:hlinkClick r:id="rId30" action="ppaction://hlinksldjump"/>
            <a:extLst>
              <a:ext uri="{FF2B5EF4-FFF2-40B4-BE49-F238E27FC236}">
                <a16:creationId xmlns:a16="http://schemas.microsoft.com/office/drawing/2014/main" id="{BC66762F-4F5B-4637-959E-B024A296FFA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36" name="Rectangle 35">
            <a:hlinkClick r:id="rId31" action="ppaction://hlinksldjump"/>
            <a:extLst>
              <a:ext uri="{FF2B5EF4-FFF2-40B4-BE49-F238E27FC236}">
                <a16:creationId xmlns:a16="http://schemas.microsoft.com/office/drawing/2014/main" id="{BAE575E3-7DC8-46D3-A306-DA1E2241CCD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7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486AFB37-D553-4196-B532-2378C64E922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75055" y="2198991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Kubernetes</a:t>
            </a:r>
          </a:p>
        </p:txBody>
      </p:sp>
      <p:sp>
        <p:nvSpPr>
          <p:cNvPr id="34" name="Oval 33">
            <a:hlinkClick r:id="rId31" action="ppaction://hlinksldjump"/>
            <a:extLst>
              <a:ext uri="{FF2B5EF4-FFF2-40B4-BE49-F238E27FC236}">
                <a16:creationId xmlns:a16="http://schemas.microsoft.com/office/drawing/2014/main" id="{F61AD854-4105-43A3-9A05-8A85B4981EF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4109B19-E6D5-406D-8515-1A8315D7F87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400388" y="1701158"/>
            <a:ext cx="8565811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82B90CEA-72BF-4D9B-8B67-A35534B58DE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CFB2D8EB-AA77-46AA-89B8-0E932C97FC4A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91FB067D-EC22-422B-94DF-4B1E3DAE550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294216A6-73C7-4C10-8B3C-6BD979479D1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C0221EEC-034D-4E52-B6EB-B7688712AA9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F71AF802-3580-4583-AC17-CDD0427CE8A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6EAF7799-CEC1-479E-9DB1-8B7217B0BD2F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1620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3C91CD20-64E2-41B7-8212-0BED5D3A99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3330004B-51F2-4E11-86A5-A386C3E52B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8C830342-E9FE-4AF9-B668-C8FEC21355B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2C3A6789-1735-48FE-BBAE-56B411BBD81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DD3F86E0-B77A-4D73-87D0-11B7EA4F796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Possible Approaches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8FFBF707-C9B4-4E55-8DBE-A5F992318D5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hlinkClick r:id="rId29" action="ppaction://hlinksldjump"/>
            <a:extLst>
              <a:ext uri="{FF2B5EF4-FFF2-40B4-BE49-F238E27FC236}">
                <a16:creationId xmlns:a16="http://schemas.microsoft.com/office/drawing/2014/main" id="{93E6BD2E-857C-4838-AD76-02EDA6F8ADE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D4E3F5B4-5DFF-4BD9-83AA-ACB881AE6D8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40" name="Oval 39">
            <a:hlinkClick r:id="rId29" action="ppaction://hlinksldjump"/>
            <a:extLst>
              <a:ext uri="{FF2B5EF4-FFF2-40B4-BE49-F238E27FC236}">
                <a16:creationId xmlns:a16="http://schemas.microsoft.com/office/drawing/2014/main" id="{ABDD8551-3932-4C9E-B72D-575DEF7AD83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9" name="Rectangle 38">
            <a:hlinkClick r:id="rId30" action="ppaction://hlinksldjump"/>
            <a:extLst>
              <a:ext uri="{FF2B5EF4-FFF2-40B4-BE49-F238E27FC236}">
                <a16:creationId xmlns:a16="http://schemas.microsoft.com/office/drawing/2014/main" id="{31EDA896-CAC7-4F08-81A2-9E71D4BEF6F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9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ACF134AE-3BE1-402F-90F5-C15C1FF14F3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utoscaling</a:t>
            </a:r>
          </a:p>
        </p:txBody>
      </p:sp>
      <p:sp>
        <p:nvSpPr>
          <p:cNvPr id="37" name="Oval 36">
            <a:hlinkClick r:id="rId30" action="ppaction://hlinksldjump"/>
            <a:extLst>
              <a:ext uri="{FF2B5EF4-FFF2-40B4-BE49-F238E27FC236}">
                <a16:creationId xmlns:a16="http://schemas.microsoft.com/office/drawing/2014/main" id="{5D567E3C-F7BC-4A24-8D83-3558A146B74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9E1FDEC-B06A-4DC5-B287-BD254E8E9EF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98222" y="2198991"/>
            <a:ext cx="8067977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8E49BC3F-14C0-4343-8FEB-0F95A6B5E65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7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>
            <a:hlinkClick r:id="rId31" action="ppaction://hlinksldjump"/>
            <a:extLst>
              <a:ext uri="{FF2B5EF4-FFF2-40B4-BE49-F238E27FC236}">
                <a16:creationId xmlns:a16="http://schemas.microsoft.com/office/drawing/2014/main" id="{98AA0EAE-C7AE-4E8F-9EC4-00DECA22DFA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175055" y="2198991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Kubernetes</a:t>
            </a:r>
          </a:p>
        </p:txBody>
      </p:sp>
      <p:sp>
        <p:nvSpPr>
          <p:cNvPr id="33" name="Oval 32">
            <a:hlinkClick r:id="rId31" action="ppaction://hlinksldjump"/>
            <a:extLst>
              <a:ext uri="{FF2B5EF4-FFF2-40B4-BE49-F238E27FC236}">
                <a16:creationId xmlns:a16="http://schemas.microsoft.com/office/drawing/2014/main" id="{493DF8F1-E733-436D-BC14-6402E337359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677221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001D7892-65FB-4F73-8360-4F6B0E8D945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89534173-2077-47F4-B6D4-189E7580D9B2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F071C853-DA44-42D2-9ACD-EC140AEC42A9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7CC5831D-63B0-4819-9222-624DC3C0AA0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43C36E22-45BE-49D6-8429-1B091090F15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773F68FB-77AC-4674-98BE-40E2FCB27B1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B3778F87-1ACE-4731-8316-7217AF4834F5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6214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12833E-49B7-451E-A4C7-89BDF3F57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(K8s)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EF0F56FB-E51D-42DB-8C6B-C3506405BA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366712"/>
            <a:ext cx="647623" cy="628650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CE08682B-BDB4-43E3-98C3-AD00524BC8F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47937" y="1203325"/>
            <a:ext cx="4318262" cy="3429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ClrTx/>
              <a:buSzPct val="100000"/>
              <a:buNone/>
            </a:pPr>
            <a:endParaRPr lang="en-US" b="0" dirty="0">
              <a:latin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7CDBD33E-C146-4896-8007-B6D7C001EB1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1203325"/>
            <a:ext cx="4318262" cy="3429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Open source orchestral tool for containerized applications</a:t>
            </a:r>
          </a:p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Originally developed by Google (2014)</a:t>
            </a:r>
          </a:p>
          <a:p>
            <a:pPr marL="0" lvl="1" indent="0">
              <a:buClrTx/>
              <a:buSzPct val="100000"/>
              <a:buNone/>
            </a:pPr>
            <a:r>
              <a:rPr lang="en-US" b="0" dirty="0">
                <a:latin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n-US" b="0" dirty="0">
                <a:latin typeface="Arial" panose="020B0604020202020204" pitchFamily="34" charset="0"/>
              </a:rPr>
              <a:t>Donated to </a:t>
            </a:r>
            <a:r>
              <a:rPr lang="en-GB" dirty="0">
                <a:latin typeface="Arial" panose="020B0604020202020204" pitchFamily="34" charset="0"/>
              </a:rPr>
              <a:t>Cloud Native Computing            Foundation (CNCF)</a:t>
            </a:r>
          </a:p>
          <a:p>
            <a:pPr marL="0" lvl="1" indent="0">
              <a:buClrTx/>
              <a:buSzPct val="100000"/>
              <a:buNone/>
            </a:pPr>
            <a:endParaRPr lang="en-GB" b="0" dirty="0">
              <a:latin typeface="Arial" panose="020B0604020202020204" pitchFamily="34" charset="0"/>
            </a:endParaRPr>
          </a:p>
          <a:p>
            <a:pPr marL="0" lvl="1" indent="0">
              <a:buClrTx/>
              <a:buSzPct val="100000"/>
              <a:buNone/>
            </a:pPr>
            <a:r>
              <a:rPr lang="en-GB" dirty="0">
                <a:latin typeface="Arial" panose="020B0604020202020204" pitchFamily="34" charset="0"/>
              </a:rPr>
              <a:t>Functionality:</a:t>
            </a:r>
          </a:p>
          <a:p>
            <a:pPr lvl="2">
              <a:buClrTx/>
              <a:buSzPct val="100000"/>
            </a:pPr>
            <a:r>
              <a:rPr lang="en-GB" dirty="0">
                <a:latin typeface="Arial" panose="020B0604020202020204" pitchFamily="34" charset="0"/>
              </a:rPr>
              <a:t>Automatic deployment</a:t>
            </a:r>
          </a:p>
          <a:p>
            <a:pPr lvl="2">
              <a:buClrTx/>
              <a:buSzPct val="100000"/>
            </a:pPr>
            <a:r>
              <a:rPr lang="en-GB" dirty="0">
                <a:latin typeface="Arial" panose="020B0604020202020204" pitchFamily="34" charset="0"/>
              </a:rPr>
              <a:t>Scaling</a:t>
            </a:r>
          </a:p>
          <a:p>
            <a:pPr lvl="2">
              <a:buClrTx/>
              <a:buSzPct val="100000"/>
            </a:pPr>
            <a:r>
              <a:rPr lang="en-GB" dirty="0">
                <a:latin typeface="Arial" panose="020B0604020202020204" pitchFamily="34" charset="0"/>
              </a:rPr>
              <a:t>Organization</a:t>
            </a:r>
          </a:p>
          <a:p>
            <a:pPr lvl="1">
              <a:buClrTx/>
              <a:buSzPct val="100000"/>
            </a:pPr>
            <a:endParaRPr lang="en-US" b="0" dirty="0">
              <a:latin typeface="Arial" panose="020B0604020202020204" pitchFamily="34" charset="0"/>
            </a:endParaRP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8564CDB5-2035-4B07-BF5D-6344B2AC467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87" t="3677" r="6173" b="7907"/>
          <a:stretch/>
        </p:blipFill>
        <p:spPr>
          <a:xfrm>
            <a:off x="4656168" y="1405520"/>
            <a:ext cx="4298128" cy="302460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8E9B2CC-C36A-49A2-9378-3D3C0B244741}"/>
              </a:ext>
            </a:extLst>
          </p:cNvPr>
          <p:cNvSpPr txBox="1"/>
          <p:nvPr/>
        </p:nvSpPr>
        <p:spPr>
          <a:xfrm>
            <a:off x="6660232" y="4443958"/>
            <a:ext cx="238238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5B5B5"/>
                </a:solidFill>
              </a:rPr>
              <a:t>Source: https://de.wikipedia.org/wiki/Kubernetes</a:t>
            </a:r>
          </a:p>
        </p:txBody>
      </p:sp>
    </p:spTree>
    <p:extLst>
      <p:ext uri="{BB962C8B-B14F-4D97-AF65-F5344CB8AC3E}">
        <p14:creationId xmlns:p14="http://schemas.microsoft.com/office/powerpoint/2010/main" val="41193378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4AAD15F2-C07B-48C7-BDD5-1C1D769961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D5251BA4-D4CB-4397-BC74-F894C744748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6138FFEA-A19B-4701-95B5-0422823D93D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013F08AB-C638-4ADB-AAF6-79E894C1816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18778EA7-4569-45A4-B402-1B87246BD49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Possible Approaches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324D666D-9549-4D7E-99D7-51D0E66826A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hlinkClick r:id="rId29" action="ppaction://hlinksldjump"/>
            <a:extLst>
              <a:ext uri="{FF2B5EF4-FFF2-40B4-BE49-F238E27FC236}">
                <a16:creationId xmlns:a16="http://schemas.microsoft.com/office/drawing/2014/main" id="{883D6AE4-9B0F-4A10-AD09-DF9797C1094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DD416AE2-5C0B-4500-BBA3-7DA78A8841C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40" name="Oval 39">
            <a:hlinkClick r:id="rId29" action="ppaction://hlinksldjump"/>
            <a:extLst>
              <a:ext uri="{FF2B5EF4-FFF2-40B4-BE49-F238E27FC236}">
                <a16:creationId xmlns:a16="http://schemas.microsoft.com/office/drawing/2014/main" id="{F604D230-61D7-401E-9E37-8601753ECDD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44E5780-C5E1-4FBD-9AF2-1C3C8315755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98222" y="2696824"/>
            <a:ext cx="8067977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F0653E9D-E279-47FE-8F32-9F3ABCC4A3F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9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36">
            <a:hlinkClick r:id="rId30" action="ppaction://hlinksldjump"/>
            <a:extLst>
              <a:ext uri="{FF2B5EF4-FFF2-40B4-BE49-F238E27FC236}">
                <a16:creationId xmlns:a16="http://schemas.microsoft.com/office/drawing/2014/main" id="{169519FB-F512-45DB-81FF-E0970E01B12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utoscaling</a:t>
            </a:r>
          </a:p>
        </p:txBody>
      </p:sp>
      <p:sp>
        <p:nvSpPr>
          <p:cNvPr id="36" name="Oval 35">
            <a:hlinkClick r:id="rId30" action="ppaction://hlinksldjump"/>
            <a:extLst>
              <a:ext uri="{FF2B5EF4-FFF2-40B4-BE49-F238E27FC236}">
                <a16:creationId xmlns:a16="http://schemas.microsoft.com/office/drawing/2014/main" id="{BCFC1BA3-831B-48BC-A526-908688FFDAF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2807AEE9-4F38-4811-9B21-BB72E886DE3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7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>
            <a:hlinkClick r:id="rId31" action="ppaction://hlinksldjump"/>
            <a:extLst>
              <a:ext uri="{FF2B5EF4-FFF2-40B4-BE49-F238E27FC236}">
                <a16:creationId xmlns:a16="http://schemas.microsoft.com/office/drawing/2014/main" id="{3AD99368-7B5F-4557-8BAF-5A5F3C36B9E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175055" y="2198991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Kubernetes</a:t>
            </a:r>
          </a:p>
        </p:txBody>
      </p:sp>
      <p:sp>
        <p:nvSpPr>
          <p:cNvPr id="33" name="Oval 32">
            <a:hlinkClick r:id="rId31" action="ppaction://hlinksldjump"/>
            <a:extLst>
              <a:ext uri="{FF2B5EF4-FFF2-40B4-BE49-F238E27FC236}">
                <a16:creationId xmlns:a16="http://schemas.microsoft.com/office/drawing/2014/main" id="{2CF53089-4393-4CB5-9145-2CF78E442B4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677221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EA65B08A-2B4D-4EA0-BEF6-675E0675003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14E0FF91-1A52-4763-BE21-6950FA0AE11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AA908FC7-2B8D-4772-B5CD-0BDC4DAF41DD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07934A75-9C6F-4F70-87C8-0CCD1EC92C1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E5CE055E-7C31-420A-BEBE-C8E50603889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13175F90-5BFC-4465-AAF4-0C30BE456CAB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C7AF0E0A-9E3D-47D2-BD87-C93D5CF2AF7E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9687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dd94bf6c-9964-49d5-bf8d-236414694d53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&quot; customLayoutIndex=&quot;2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Inhalt&quot; title=&quot;Inhalt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5&quot; hideSeparatingSlides=&quot;0&quot; createSections=&quot;1&quot; singleSlideId=&quot;437d24b4-5f9c-4992-9560-bd78b09e7a0a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92.504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8bf3a50b-6ad0-4518-895e-5ed9af4ec476&quot; parentId=&quot;&quot; level=&quot;1&quot; generateAgendaSlide=&quot;1&quot; showAgendaItem=&quot;1&quot; isBreak=&quot;0&quot; topic=&quot;Motivation&quot; agendaSlideId=&quot;e9dd951a-7e03-4f7a-b8a3-109684813486&quot; sectionId=&quot;{5A056EA6-6E58-4803-BA5C-A60158548EA3}&quot; itemNo=&quot;1&quot; subItemNo=&quot;0&quot; /&gt;&lt;item duration=&quot;30&quot; id=&quot;35e83ca5-6c1b-4d00-90a9-ae0bd0fc2a81&quot; parentId=&quot;&quot; level=&quot;1&quot; generateAgendaSlide=&quot;1&quot; showAgendaItem=&quot;1&quot; isBreak=&quot;0&quot; topic=&quot;Basics&quot; agendaSlideId=&quot;1c6e7a5f-c589-4ed3-a24b-915f71e893ee&quot; sectionId=&quot;{CCF8AD74-29A2-49EB-A47C-1FCD99072C68}&quot; itemNo=&quot;2&quot; subItemNo=&quot;0&quot; /&gt;&lt;item duration=&quot;30&quot; id=&quot;32e1949c-b341-4454-b0f6-1e36a265461f&quot; parentId=&quot;35e83ca5-6c1b-4d00-90a9-ae0bd0fc2a81&quot; level=&quot;2&quot; generateAgendaSlide=&quot;1&quot; showAgendaItem=&quot;1&quot; isBreak=&quot;0&quot; topic=&quot;Kubernetes&quot; agendaSlideId=&quot;ec54f846-6714-4001-bf86-01640bc049c5&quot; sectionId=&quot;{27D119D6-EAD7-4A5A-8544-2DAB22CEE7E8}&quot; itemNo=&quot;2&quot; subItemNo=&quot;1&quot; /&gt;&lt;item duration=&quot;30&quot; id=&quot;40bb2e30-3eb1-4218-9327-9b1757d4a71d&quot; parentId=&quot;35e83ca5-6c1b-4d00-90a9-ae0bd0fc2a81&quot; level=&quot;2&quot; generateAgendaSlide=&quot;1&quot; showAgendaItem=&quot;1&quot; isBreak=&quot;0&quot; topic=&quot;Autoscaling&quot; agendaSlideId=&quot;793d6872-fc29-449a-99bf-474548f9d4ba&quot; sectionId=&quot;{F1A8C673-1EC1-4B8C-AF2B-F686D054FA8B}&quot; itemNo=&quot;2&quot; subItemNo=&quot;2&quot; /&gt;&lt;item duration=&quot;30&quot; id=&quot;ae9f7c2f-5692-419b-8944-69c6a3656629&quot; parentId=&quot;&quot; level=&quot;1&quot; generateAgendaSlide=&quot;1&quot; showAgendaItem=&quot;1&quot; isBreak=&quot;0&quot; topic=&quot;State of the Art&quot; agendaSlideId=&quot;8bff01ac-4842-4d04-be10-51e3e94c2aa3&quot; sectionId=&quot;{E2DB5926-CD54-49AC-B7C9-B337BED5E9B6}&quot; itemNo=&quot;3&quot; subItemNo=&quot;0&quot; /&gt;&lt;item duration=&quot;30&quot; id=&quot;1c3972f7-3d5f-4da8-b0af-d1e1850b19f8&quot; parentId=&quot;ae9f7c2f-5692-419b-8944-69c6a3656629&quot; level=&quot;2&quot; generateAgendaSlide=&quot;1&quot; showAgendaItem=&quot;1&quot; isBreak=&quot;0&quot; topic=&quot;Horizontal and Vertical Scaling using Reinforcement Learning&quot; agendaSlideId=&quot;286f6b61-a9e6-46c8-8d10-9816d85049c9&quot; sectionId=&quot;{1B34CF1C-4FF7-49FA-951A-E9B5CD6C5512}&quot; itemNo=&quot;3&quot; subItemNo=&quot;1&quot; /&gt;&lt;item duration=&quot;30&quot; id=&quot;fc4e7d62-9353-4eea-b160-70c1c3f984e9&quot; parentId=&quot;ae9f7c2f-5692-419b-8944-69c6a3656629&quot; level=&quot;2&quot; generateAgendaSlide=&quot;1&quot; showAgendaItem=&quot;1&quot; isBreak=&quot;0&quot; topic=&quot;Performance Analysis of Vertical Scaling&quot; agendaSlideId=&quot;79272dc7-8265-404e-b0b7-0adaf7aabebd&quot; sectionId=&quot;{2968B76D-AFB7-473A-8696-F03BDD27010A}&quot; itemNo=&quot;3&quot; subItemNo=&quot;2&quot; /&gt;&lt;item duration=&quot;30&quot; id=&quot;103e4db4-9d46-49fc-b7cb-b448cef7937c&quot; parentId=&quot;&quot; level=&quot;1&quot; generateAgendaSlide=&quot;1&quot; showAgendaItem=&quot;1&quot; isBreak=&quot;0&quot; topic=&quot;Possible Approaches&quot; agendaSlideId=&quot;927149c2-4e1c-4a12-84e9-ef3b14fa8a42&quot; sectionId=&quot;{C6746C23-7F90-457C-B22B-F4039F1DFEA7}&quot; itemNo=&quot;4&quot; subItemNo=&quot;0&quot; /&gt;&lt;item duration=&quot;30&quot; id=&quot;c8d016fe-df09-4370-8b39-6adc97801a79&quot; parentId=&quot;&quot; level=&quot;1&quot; generateAgendaSlide=&quot;1&quot; showAgendaItem=&quot;1&quot; isBreak=&quot;0&quot; topic=&quot;Application Area&quot; agendaSlideId=&quot;85c01541-f51f-4b2c-a92f-a466fe0b7838&quot; sectionId=&quot;{344D8BA4-31B6-4A1B-835C-C95044C75FBD}&quot; itemNo=&quot;5&quot; subItemNo=&quot;0&quot; /&gt;&lt;item duration=&quot;30&quot; id=&quot;eec81c82-aaca-41a6-a7c3-5a5866422fad&quot; parentId=&quot;&quot; level=&quot;1&quot; generateAgendaSlide=&quot;0&quot; showAgendaItem=&quot;0&quot; isBreak=&quot;0&quot; topic=&quot;Sources&quot; itemNo=&quot;0&quot; subItemNo=&quot;0&quot; /&gt;&lt;/items&gt;&lt;/agenda&gt;&lt;/contents&gt;&lt;/ee4p&gt;"/>
  <p:tag name="EE4P_AGENDAWIZARD_UPDATEPAGENUMBERS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12.3483/34.80323/34.8032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Elemen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PageNo"/>
  <p:tag name="EE4P_AGENDAWIZARD_PROPERTIES" val="692.8449/212.3483/7.879528/34.80323"/>
  <p:tag name="EE4P_AGENDAWIZARD_CONTENT" val="/9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Topic"/>
  <p:tag name="EE4P_AGENDAWIZARD_CONTENT" val="/Autoscaling"/>
  <p:tag name="EE4P_AGENDAWIZARD_PROPERTIES" val="92.52402/212.3483/422.2684/34.8032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ItemNo"/>
  <p:tag name="EE4P_AGENDAWIZARD_CONTENT" val="/2.2"/>
  <p:tag name="EE4P_AGENDAWIZARD_PROPERTIES" val="53.32449/212.3483/34.80323/34.8032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PageNo"/>
  <p:tag name="EE4P_AGENDAWIZARD_PROPERTIES" val="692.8449/173.1489/7.879528/34.80323"/>
  <p:tag name="EE4P_AGENDAWIZARD_CONTENT" val="/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Topic"/>
  <p:tag name="EE4P_AGENDAWIZARD_CONTENT" val="/Kubernetes"/>
  <p:tag name="EE4P_AGENDAWIZARD_PROPERTIES" val="92.52402/173.1489/422.2684/34.8032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ItemNo"/>
  <p:tag name="EE4P_AGENDAWIZARD_CONTENT" val="/2.1"/>
  <p:tag name="EE4P_AGENDAWIZARD_PROPERTIES" val="53.32449/173.1489/34.80323/34.8032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EE4P_TEMPLATEMASTER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bff01ac-4842-4d04-be10-51e3e94c2aa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PageNo"/>
  <p:tag name="EE4P_AGENDAWIZARD_PROPERTIES" val="692.8449/251.5479/7.879528/34.80315"/>
  <p:tag name="EE4P_AGENDAWIZARD_CONTENT" val="/1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Topic"/>
  <p:tag name="EE4P_AGENDAWIZARD_CONTENT" val="/Performance Analysis of Vertical Scaling"/>
  <p:tag name="EE4P_AGENDAWIZARD_PROPERTIES" val="92.52402/251.5479/422.2684/34.8031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ItemNo"/>
  <p:tag name="EE4P_AGENDAWIZARD_CONTENT" val="/3.2"/>
  <p:tag name="EE4P_AGENDAWIZARD_PROPERTIES" val="53.32449/251.5479/34.80323/34.8031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PageNo"/>
  <p:tag name="EE4P_AGENDAWIZARD_PROPERTIES" val="692.8449/212.3483/7.879528/34.80323"/>
  <p:tag name="EE4P_AGENDAWIZARD_CONTENT" val="/1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Topic"/>
  <p:tag name="EE4P_AGENDAWIZARD_CONTENT" val="/Horizontal and Vertical Scaling using Reinforcement Learning"/>
  <p:tag name="EE4P_AGENDAWIZARD_PROPERTIES" val="92.52402/212.3483/422.2684/34.8032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ItemNo"/>
  <p:tag name="EE4P_AGENDAWIZARD_CONTENT" val="/3.1"/>
  <p:tag name="EE4P_AGENDAWIZARD_PROPERTIES" val="53.32449/212.3483/34.80323/34.8032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Elemen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286f6b61-a9e6-46c8-8d10-9816d85049c9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PageNo"/>
  <p:tag name="EE4P_AGENDAWIZARD_PROPERTIES" val="692.8449/251.5479/7.879528/34.80315"/>
  <p:tag name="EE4P_AGENDAWIZARD_CONTENT" val="/1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Topic"/>
  <p:tag name="EE4P_AGENDAWIZARD_CONTENT" val="/Performance Analysis of Vertical Scaling"/>
  <p:tag name="EE4P_AGENDAWIZARD_PROPERTIES" val="92.52402/251.5479/422.2684/34.8031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ItemNo"/>
  <p:tag name="EE4P_AGENDAWIZARD_CONTENT" val="/3.2"/>
  <p:tag name="EE4P_AGENDAWIZARD_PROPERTIES" val="53.32449/251.5479/34.80323/34.8031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Elemen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PageNo"/>
  <p:tag name="EE4P_AGENDAWIZARD_PROPERTIES" val="692.8449/212.3483/7.879528/34.80323"/>
  <p:tag name="EE4P_AGENDAWIZARD_CONTENT" val="/1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Topic"/>
  <p:tag name="EE4P_AGENDAWIZARD_CONTENT" val="/Horizontal and Vertical Scaling using Reinforcement Learning"/>
  <p:tag name="EE4P_AGENDAWIZARD_PROPERTIES" val="92.52402/212.3483/422.2684/34.8032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ItemNo"/>
  <p:tag name="EE4P_AGENDAWIZARD_CONTENT" val="/3.1"/>
  <p:tag name="EE4P_AGENDAWIZARD_PROPERTIES" val="53.32449/212.3483/34.80323/34.8032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EE4P_TEMPLATEMASTER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EE4P_TEMPLATEMASTER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9272dc7-8265-404e-b0b7-0adaf7aabeb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Elemen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PageNo"/>
  <p:tag name="EE4P_AGENDAWIZARD_PROPERTIES" val="692.8449/251.5479/7.879528/34.80315"/>
  <p:tag name="EE4P_AGENDAWIZARD_CONTENT" val="/1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Topic"/>
  <p:tag name="EE4P_AGENDAWIZARD_CONTENT" val="/Performance Analysis of Vertical Scaling"/>
  <p:tag name="EE4P_AGENDAWIZARD_PROPERTIES" val="92.52402/251.5479/422.2684/34.8031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ItemNo"/>
  <p:tag name="EE4P_AGENDAWIZARD_CONTENT" val="/3.2"/>
  <p:tag name="EE4P_AGENDAWIZARD_PROPERTIES" val="53.32449/251.5479/34.80323/34.8031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PageNo"/>
  <p:tag name="EE4P_AGENDAWIZARD_PROPERTIES" val="692.8449/212.3483/7.879528/34.80323"/>
  <p:tag name="EE4P_AGENDAWIZARD_CONTENT" val="/1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Topic"/>
  <p:tag name="EE4P_AGENDAWIZARD_CONTENT" val="/Horizontal and Vertical Scaling using Reinforcement Learning"/>
  <p:tag name="EE4P_AGENDAWIZARD_PROPERTIES" val="92.52402/212.3483/422.2684/34.80323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ItemNo"/>
  <p:tag name="EE4P_AGENDAWIZARD_CONTENT" val="/3.1"/>
  <p:tag name="EE4P_AGENDAWIZARD_PROPERTIES" val="53.32449/212.3483/34.80323/34.80323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27149c2-4e1c-4a12-84e9-ef3b14fa8a4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251.5479/7.879528/34.80315"/>
  <p:tag name="EE4P_AGENDAWIZARD_CONTENT" val="/23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251.5479/461.468/34.80315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251.5479/34.80323/34.8031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Elemen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12.3483/7.879528/34.80323"/>
  <p:tag name="EE4P_AGENDAWIZARD_CONTENT" val="/17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12.3483/461.468/34.80323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12.3483/34.80323/34.80323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9dd951a-7e03-4f7a-b8a3-109684813486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5c01541-f51f-4b2c-a92f-a466fe0b783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251.5479/7.879528/34.80315"/>
  <p:tag name="EE4P_AGENDAWIZARD_CONTENT" val="/23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Elemen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251.5479/7.879528/34.80315"/>
  <p:tag name="EE4P_AGENDAWIZARD_CONTENT" val="/23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251.5479/461.468/34.8031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251.5479/34.80323/34.8031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12.3483/7.879528/34.80323"/>
  <p:tag name="EE4P_AGENDAWIZARD_CONTENT" val="/17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12.3483/461.468/34.8032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12.3483/34.80323/34.8032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251.5479/461.468/34.80315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251.5479/34.80323/34.80315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12.3483/7.879528/34.80323"/>
  <p:tag name="EE4P_AGENDAWIZARD_CONTENT" val="/1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12.3483/461.468/34.8032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12.3483/34.80323/34.8032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CpienIQXtQdonnKyKn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Ele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EE4P_TEMPLATEMAST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37d24b4-5f9c-4992-9560-bd78b09e7a0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c6e7a5f-c589-4ed3-a24b-915f71e893e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251.5479/7.879528/34.80315"/>
  <p:tag name="EE4P_AGENDAWIZARD_CONTENT" val="/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251.5479/461.468/34.8031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251.5479/34.80323/34.8031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251.5479/7.879528/34.80315"/>
  <p:tag name="EE4P_AGENDAWIZARD_CONTENT" val="/2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PageNo"/>
  <p:tag name="EE4P_AGENDAWIZARD_PROPERTIES" val="692.8449/212.3483/7.879528/34.80323"/>
  <p:tag name="EE4P_AGENDAWIZARD_CONTENT" val="/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Topic"/>
  <p:tag name="EE4P_AGENDAWIZARD_CONTENT" val="/Autoscaling"/>
  <p:tag name="EE4P_AGENDAWIZARD_PROPERTIES" val="92.52402/212.3483/422.2684/34.8032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ItemNo"/>
  <p:tag name="EE4P_AGENDAWIZARD_CONTENT" val="/2.2"/>
  <p:tag name="EE4P_AGENDAWIZARD_PROPERTIES" val="53.32449/212.3483/34.80323/34.8032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PageNo"/>
  <p:tag name="EE4P_AGENDAWIZARD_PROPERTIES" val="692.8449/173.1489/7.879528/34.80323"/>
  <p:tag name="EE4P_AGENDAWIZARD_CONTENT" val="/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Topic"/>
  <p:tag name="EE4P_AGENDAWIZARD_CONTENT" val="/Kubernetes"/>
  <p:tag name="EE4P_AGENDAWIZARD_PROPERTIES" val="92.52402/173.1489/422.2684/34.8032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ItemNo"/>
  <p:tag name="EE4P_AGENDAWIZARD_CONTENT" val="/2.1"/>
  <p:tag name="EE4P_AGENDAWIZARD_PROPERTIES" val="53.32449/173.1489/34.80323/34.8032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Elemen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251.5479/461.468/34.8031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c54f846-6714-4001-bf86-01640bc049c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251.5479/34.80323/34.8031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251.5479/7.879528/34.80315"/>
  <p:tag name="EE4P_AGENDAWIZARD_CONTENT" val="/1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251.5479/461.468/34.8031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251.5479/34.80323/34.8031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PageNo"/>
  <p:tag name="EE4P_AGENDAWIZARD_PROPERTIES" val="692.8449/212.3483/7.879528/34.80323"/>
  <p:tag name="EE4P_AGENDAWIZARD_CONTENT" val="/9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Topic"/>
  <p:tag name="EE4P_AGENDAWIZARD_CONTENT" val="/Autoscaling"/>
  <p:tag name="EE4P_AGENDAWIZARD_PROPERTIES" val="92.52402/212.3483/422.2684/34.8032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ItemNo"/>
  <p:tag name="EE4P_AGENDAWIZARD_CONTENT" val="/2.2"/>
  <p:tag name="EE4P_AGENDAWIZARD_PROPERTIES" val="53.32449/212.3483/34.80323/34.8032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Elemen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PageNo"/>
  <p:tag name="EE4P_AGENDAWIZARD_PROPERTIES" val="692.8449/173.1489/7.879528/34.80323"/>
  <p:tag name="EE4P_AGENDAWIZARD_CONTENT" val="/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Topic"/>
  <p:tag name="EE4P_AGENDAWIZARD_CONTENT" val="/Kubernetes"/>
  <p:tag name="EE4P_AGENDAWIZARD_PROPERTIES" val="92.52402/173.1489/422.2684/34.8032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12.3483/7.879528/34.80323"/>
  <p:tag name="EE4P_AGENDAWIZARD_CONTENT" val="/1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ItemNo"/>
  <p:tag name="EE4P_AGENDAWIZARD_CONTENT" val="/2.1"/>
  <p:tag name="EE4P_AGENDAWIZARD_PROPERTIES" val="53.32449/173.1489/34.80323/34.8032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12.3483/461.468/34.8032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93d6872-fc29-449a-99bf-474548f9d4b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251.5479/7.879528/34.80315"/>
  <p:tag name="EE4P_AGENDAWIZARD_CONTENT" val="/1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251.5479/461.468/34.8031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251.5479/34.80323/34.80315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C6500"/>
      </a:accent1>
      <a:accent2>
        <a:srgbClr val="EC6500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_BWL9</Template>
  <TotalTime>0</TotalTime>
  <Words>1296</Words>
  <Application>Microsoft Office PowerPoint</Application>
  <PresentationFormat>Bildschirmpräsentation (16:9)</PresentationFormat>
  <Paragraphs>409</Paragraphs>
  <Slides>26</Slides>
  <Notes>2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3" baseType="lpstr">
      <vt:lpstr>Bitstream Charter</vt:lpstr>
      <vt:lpstr>Stafford</vt:lpstr>
      <vt:lpstr>Arial</vt:lpstr>
      <vt:lpstr>Cambria Math</vt:lpstr>
      <vt:lpstr>Wingdings</vt:lpstr>
      <vt:lpstr>Präsentationsvorlage_BWL9</vt:lpstr>
      <vt:lpstr>think-cell Folie</vt:lpstr>
      <vt:lpstr>Pod Autoscaling in Kubernetes Clusters</vt:lpstr>
      <vt:lpstr>Sandbox</vt:lpstr>
      <vt:lpstr>Content</vt:lpstr>
      <vt:lpstr>Content</vt:lpstr>
      <vt:lpstr>Motivation</vt:lpstr>
      <vt:lpstr>Content</vt:lpstr>
      <vt:lpstr>Content</vt:lpstr>
      <vt:lpstr>Kubernetes (K8s)</vt:lpstr>
      <vt:lpstr>Content</vt:lpstr>
      <vt:lpstr>Autoscaling</vt:lpstr>
      <vt:lpstr>Content</vt:lpstr>
      <vt:lpstr>Content</vt:lpstr>
      <vt:lpstr>Horizontal and Vertical Scaling of Container-based Applications using Reinforcement Learning</vt:lpstr>
      <vt:lpstr>Horizontal and Vertical Scaling of Container-based Applications using Reinforcement Learning</vt:lpstr>
      <vt:lpstr>Content</vt:lpstr>
      <vt:lpstr>Performance Analysis of the Impact of Vertical Scaling on Application Containerized with Docker</vt:lpstr>
      <vt:lpstr>Content</vt:lpstr>
      <vt:lpstr>Overview </vt:lpstr>
      <vt:lpstr>GUI</vt:lpstr>
      <vt:lpstr>Machine Learning Overview</vt:lpstr>
      <vt:lpstr>Machine Learning</vt:lpstr>
      <vt:lpstr>Control Script</vt:lpstr>
      <vt:lpstr>Content</vt:lpstr>
      <vt:lpstr>Application Area</vt:lpstr>
      <vt:lpstr>Questions?</vt:lpstr>
      <vt:lpstr>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Horn, Angelina</cp:lastModifiedBy>
  <cp:revision>141</cp:revision>
  <dcterms:created xsi:type="dcterms:W3CDTF">2009-12-23T09:42:49Z</dcterms:created>
  <dcterms:modified xsi:type="dcterms:W3CDTF">2021-01-06T11:36:53Z</dcterms:modified>
</cp:coreProperties>
</file>